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3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45" r:id="rId10"/>
    <p:sldMasterId id="2147484015" r:id="rId11"/>
    <p:sldMasterId id="2147484060" r:id="rId12"/>
    <p:sldMasterId id="2147484072" r:id="rId13"/>
  </p:sldMasterIdLst>
  <p:notesMasterIdLst>
    <p:notesMasterId r:id="rId42"/>
  </p:notesMasterIdLst>
  <p:handoutMasterIdLst>
    <p:handoutMasterId r:id="rId43"/>
  </p:handoutMasterIdLst>
  <p:sldIdLst>
    <p:sldId id="1639" r:id="rId14"/>
    <p:sldId id="2147475581" r:id="rId15"/>
    <p:sldId id="2147472197" r:id="rId16"/>
    <p:sldId id="2147475538" r:id="rId17"/>
    <p:sldId id="2147475543" r:id="rId18"/>
    <p:sldId id="2147475589" r:id="rId19"/>
    <p:sldId id="2147475592" r:id="rId20"/>
    <p:sldId id="2147475593" r:id="rId21"/>
    <p:sldId id="2147475594" r:id="rId22"/>
    <p:sldId id="2147475595" r:id="rId23"/>
    <p:sldId id="2147475596" r:id="rId24"/>
    <p:sldId id="2147475546" r:id="rId25"/>
    <p:sldId id="2147475547" r:id="rId26"/>
    <p:sldId id="2147475548" r:id="rId27"/>
    <p:sldId id="2147475598" r:id="rId28"/>
    <p:sldId id="2147475601" r:id="rId29"/>
    <p:sldId id="2147475600" r:id="rId30"/>
    <p:sldId id="2147475599" r:id="rId31"/>
    <p:sldId id="2147475549" r:id="rId32"/>
    <p:sldId id="2147475550" r:id="rId33"/>
    <p:sldId id="2147475551" r:id="rId34"/>
    <p:sldId id="2147475552" r:id="rId35"/>
    <p:sldId id="2147475553" r:id="rId36"/>
    <p:sldId id="2147475597" r:id="rId37"/>
    <p:sldId id="2147475557" r:id="rId38"/>
    <p:sldId id="2147475558" r:id="rId39"/>
    <p:sldId id="2147475559" r:id="rId40"/>
    <p:sldId id="1830" r:id="rId41"/>
  </p:sldIdLst>
  <p:sldSz cx="12192000" cy="6858000"/>
  <p:notesSz cx="6811963" cy="9942513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93D117-96C6-42FC-8BD9-F0BAA5EA436F}" v="1" dt="2025-05-19T10:39:55.346"/>
    <p1510:client id="{6D32031F-8231-4F56-BE29-99F57A07DAEF}" v="1" dt="2025-05-19T07:27:19.2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2800" autoAdjust="0"/>
  </p:normalViewPr>
  <p:slideViewPr>
    <p:cSldViewPr snapToGrid="0" showGuides="1">
      <p:cViewPr varScale="1">
        <p:scale>
          <a:sx n="88" d="100"/>
          <a:sy n="88" d="100"/>
        </p:scale>
        <p:origin x="1296" y="90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39509"/>
    </p:cViewPr>
  </p:sorterViewPr>
  <p:notesViewPr>
    <p:cSldViewPr snapToGrid="0" showGuides="1">
      <p:cViewPr varScale="1">
        <p:scale>
          <a:sx n="84" d="100"/>
          <a:sy n="84" d="100"/>
        </p:scale>
        <p:origin x="4306" y="86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4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2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3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presProps" Target="presProp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52054" cy="496586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8387" y="2"/>
            <a:ext cx="2952054" cy="496586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19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44387"/>
            <a:ext cx="2952054" cy="496586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8387" y="9444387"/>
            <a:ext cx="2952054" cy="496586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1851" cy="497126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8538" y="1"/>
            <a:ext cx="2951851" cy="497126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1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197" y="4722695"/>
            <a:ext cx="5449570" cy="4474131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3"/>
            <a:ext cx="2951851" cy="497126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8538" y="9443663"/>
            <a:ext cx="2951851" cy="497126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071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695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357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511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0134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090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129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044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4127875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482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939952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3092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2484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7094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6879979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23181000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6982364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7221349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9666617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823899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933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52452271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4799140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081153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7774277"/>
      </p:ext>
    </p:extLst>
  </p:cSld>
  <p:clrMapOvr>
    <a:masterClrMapping/>
  </p:clrMapOvr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0327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34500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418636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286092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185918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310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5608033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4"/>
            <a:ext cx="11277600" cy="3201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2CD891-22ED-EE40-BED0-84B18232E0E3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4CB98D-7B6E-8A47-B3AE-C3C7BC7B20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507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D0D0CE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1333066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1 column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6413CDD-6048-5541-9D77-EDFCC62A4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121"/>
          <a:stretch/>
        </p:blipFill>
        <p:spPr>
          <a:xfrm>
            <a:off x="8848725" y="0"/>
            <a:ext cx="3343275" cy="17601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73DAF9-537C-5B47-B69F-711A3D415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121"/>
          <a:stretch/>
        </p:blipFill>
        <p:spPr>
          <a:xfrm rot="10800000">
            <a:off x="0" y="5097812"/>
            <a:ext cx="3343275" cy="1760188"/>
          </a:xfrm>
          <a:prstGeom prst="rect">
            <a:avLst/>
          </a:prstGeom>
        </p:spPr>
      </p:pic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4"/>
            <a:ext cx="11277600" cy="3201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2CD891-22ED-EE40-BED0-84B18232E0E3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4CB98D-7B6E-8A47-B3AE-C3C7BC7B20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507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D0D0CE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8644910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17111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20425069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403CEAF-99C4-391C-0CF9-DF42BB682F44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143541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4725153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071047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72082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94559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91067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34396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967277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756464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862145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586046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0024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492605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91156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371969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4341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88637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566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226890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15387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108582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4348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092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9368264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05A628D-2650-AD48-804E-8BA2A0597108}"/>
              </a:ext>
            </a:extLst>
          </p:cNvPr>
          <p:cNvSpPr txBox="1"/>
          <p:nvPr userDrawn="1"/>
        </p:nvSpPr>
        <p:spPr>
          <a:xfrm>
            <a:off x="654049" y="66294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</p:spTree>
    <p:extLst>
      <p:ext uri="{BB962C8B-B14F-4D97-AF65-F5344CB8AC3E}">
        <p14:creationId xmlns:p14="http://schemas.microsoft.com/office/powerpoint/2010/main" val="142340083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2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8" indent="0" algn="ctr">
              <a:buNone/>
              <a:defRPr sz="2400"/>
            </a:lvl3pPr>
            <a:lvl4pPr marL="1828766" indent="0" algn="ctr">
              <a:buNone/>
              <a:defRPr sz="2134"/>
            </a:lvl4pPr>
            <a:lvl5pPr marL="2438354" indent="0" algn="ctr">
              <a:buNone/>
              <a:defRPr sz="2134"/>
            </a:lvl5pPr>
            <a:lvl6pPr marL="3047943" indent="0" algn="ctr">
              <a:buNone/>
              <a:defRPr sz="2134"/>
            </a:lvl6pPr>
            <a:lvl7pPr marL="3657532" indent="0" algn="ctr">
              <a:buNone/>
              <a:defRPr sz="2134"/>
            </a:lvl7pPr>
            <a:lvl8pPr marL="4267121" indent="0" algn="ctr">
              <a:buNone/>
              <a:defRPr sz="2134"/>
            </a:lvl8pPr>
            <a:lvl9pPr marL="4876709" indent="0" algn="ctr">
              <a:buNone/>
              <a:defRPr sz="2134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1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6062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8" indent="0" algn="ctr">
              <a:buNone/>
              <a:defRPr sz="2400"/>
            </a:lvl3pPr>
            <a:lvl4pPr marL="1828766" indent="0" algn="ctr">
              <a:buNone/>
              <a:defRPr sz="2134"/>
            </a:lvl4pPr>
            <a:lvl5pPr marL="2438354" indent="0" algn="ctr">
              <a:buNone/>
              <a:defRPr sz="2134"/>
            </a:lvl5pPr>
            <a:lvl6pPr marL="3047943" indent="0" algn="ctr">
              <a:buNone/>
              <a:defRPr sz="2134"/>
            </a:lvl6pPr>
            <a:lvl7pPr marL="3657532" indent="0" algn="ctr">
              <a:buNone/>
              <a:defRPr sz="2134"/>
            </a:lvl7pPr>
            <a:lvl8pPr marL="4267121" indent="0" algn="ctr">
              <a:buNone/>
              <a:defRPr sz="2134"/>
            </a:lvl8pPr>
            <a:lvl9pPr marL="4876709" indent="0" algn="ctr">
              <a:buNone/>
              <a:defRPr sz="2134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433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2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8" indent="0" algn="ctr">
              <a:buNone/>
              <a:defRPr sz="2667"/>
            </a:lvl2pPr>
            <a:lvl3pPr marL="1219178" indent="0" algn="ctr">
              <a:buNone/>
              <a:defRPr sz="2400"/>
            </a:lvl3pPr>
            <a:lvl4pPr marL="1828766" indent="0" algn="ctr">
              <a:buNone/>
              <a:defRPr sz="2134"/>
            </a:lvl4pPr>
            <a:lvl5pPr marL="2438354" indent="0" algn="ctr">
              <a:buNone/>
              <a:defRPr sz="2134"/>
            </a:lvl5pPr>
            <a:lvl6pPr marL="3047943" indent="0" algn="ctr">
              <a:buNone/>
              <a:defRPr sz="2134"/>
            </a:lvl6pPr>
            <a:lvl7pPr marL="3657532" indent="0" algn="ctr">
              <a:buNone/>
              <a:defRPr sz="2134"/>
            </a:lvl7pPr>
            <a:lvl8pPr marL="4267121" indent="0" algn="ctr">
              <a:buNone/>
              <a:defRPr sz="2134"/>
            </a:lvl8pPr>
            <a:lvl9pPr marL="4876709" indent="0" algn="ctr">
              <a:buNone/>
              <a:defRPr sz="2134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1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61991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8" indent="0" algn="ctr">
              <a:buNone/>
              <a:defRPr sz="2667"/>
            </a:lvl2pPr>
            <a:lvl3pPr marL="1219178" indent="0" algn="ctr">
              <a:buNone/>
              <a:defRPr sz="2400"/>
            </a:lvl3pPr>
            <a:lvl4pPr marL="1828766" indent="0" algn="ctr">
              <a:buNone/>
              <a:defRPr sz="2134"/>
            </a:lvl4pPr>
            <a:lvl5pPr marL="2438354" indent="0" algn="ctr">
              <a:buNone/>
              <a:defRPr sz="2134"/>
            </a:lvl5pPr>
            <a:lvl6pPr marL="3047943" indent="0" algn="ctr">
              <a:buNone/>
              <a:defRPr sz="2134"/>
            </a:lvl6pPr>
            <a:lvl7pPr marL="3657532" indent="0" algn="ctr">
              <a:buNone/>
              <a:defRPr sz="2134"/>
            </a:lvl7pPr>
            <a:lvl8pPr marL="4267121" indent="0" algn="ctr">
              <a:buNone/>
              <a:defRPr sz="2134"/>
            </a:lvl8pPr>
            <a:lvl9pPr marL="4876709" indent="0" algn="ctr">
              <a:buNone/>
              <a:defRPr sz="2134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0188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3893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32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8719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2103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656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333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10418233" cy="1592404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6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35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794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532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12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7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72850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8" indent="-609588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79989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8" indent="-609588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19415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8" indent="-609588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7328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8" indent="-609588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61433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8" indent="-609588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5591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6343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82" algn="r"/>
              </a:tabLst>
              <a:defRPr/>
            </a:lvl1pPr>
            <a:lvl2pPr>
              <a:tabLst>
                <a:tab pos="8972382" algn="r"/>
              </a:tabLst>
              <a:defRPr/>
            </a:lvl2pPr>
            <a:lvl3pPr>
              <a:tabLst>
                <a:tab pos="8972382" algn="r"/>
              </a:tabLst>
              <a:defRPr/>
            </a:lvl3pPr>
            <a:lvl4pPr>
              <a:tabLst>
                <a:tab pos="8972382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  <a:lvl6pPr>
              <a:tabLst>
                <a:tab pos="8972382" algn="r"/>
              </a:tabLst>
              <a:defRPr/>
            </a:lvl6pPr>
            <a:lvl7pPr>
              <a:tabLst>
                <a:tab pos="8972382" algn="r"/>
              </a:tabLst>
              <a:defRPr/>
            </a:lvl7pPr>
            <a:lvl8pPr>
              <a:tabLst>
                <a:tab pos="8972382" algn="r"/>
              </a:tabLst>
              <a:defRPr/>
            </a:lvl8pPr>
            <a:lvl9pPr>
              <a:tabLst>
                <a:tab pos="8972382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645989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2"/>
            <a:ext cx="6117233" cy="459898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109768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1" y="1665291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697892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11252200" cy="46333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1" indent="-127001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1" indent="-127001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2" indent="-127001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4" indent="-127001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37387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76403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92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3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77628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90"/>
            <a:ext cx="3600000" cy="39211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4" y="1665289"/>
            <a:ext cx="3600000" cy="39211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6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84659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9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1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854320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4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13860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74" algn="r"/>
              </a:tabLst>
              <a:defRPr sz="1600"/>
            </a:lvl1pPr>
            <a:lvl2pPr>
              <a:tabLst>
                <a:tab pos="6705474" algn="r"/>
              </a:tabLst>
              <a:defRPr sz="1600"/>
            </a:lvl2pPr>
            <a:lvl3pPr>
              <a:tabLst>
                <a:tab pos="6705474" algn="r"/>
              </a:tabLst>
              <a:defRPr sz="1600"/>
            </a:lvl3pPr>
            <a:lvl4pPr>
              <a:tabLst>
                <a:tab pos="6705474" algn="r"/>
              </a:tabLst>
              <a:defRPr sz="1600"/>
            </a:lvl4pPr>
            <a:lvl5pPr>
              <a:tabLst>
                <a:tab pos="6705474" algn="r"/>
              </a:tabLst>
              <a:defRPr sz="1000" baseline="0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9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74" algn="r"/>
              </a:tabLst>
              <a:defRPr sz="1600"/>
            </a:lvl1pPr>
            <a:lvl2pPr>
              <a:tabLst>
                <a:tab pos="6705474" algn="r"/>
              </a:tabLst>
              <a:defRPr sz="1600"/>
            </a:lvl2pPr>
            <a:lvl3pPr>
              <a:tabLst>
                <a:tab pos="6705474" algn="r"/>
              </a:tabLst>
              <a:defRPr sz="1600"/>
            </a:lvl3pPr>
            <a:lvl4pPr>
              <a:tabLst>
                <a:tab pos="6705474" algn="r"/>
              </a:tabLst>
              <a:defRPr sz="1600"/>
            </a:lvl4pPr>
            <a:lvl5pPr>
              <a:tabLst>
                <a:tab pos="6705474" algn="r"/>
              </a:tabLst>
              <a:defRPr sz="1000" baseline="0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0022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7CE22-99C8-4AA1-B80A-420B68B7E283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1700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4"/>
            <a:ext cx="5482516" cy="42068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253242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9"/>
            <a:ext cx="5482516" cy="42068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9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037411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101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74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1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74" algn="r"/>
              </a:tabLst>
              <a:defRPr/>
            </a:lvl1pPr>
            <a:lvl2pPr>
              <a:tabLst>
                <a:tab pos="6705474" algn="r"/>
              </a:tabLst>
              <a:defRPr/>
            </a:lvl2pPr>
            <a:lvl3pPr>
              <a:tabLst>
                <a:tab pos="6705474" algn="r"/>
              </a:tabLst>
              <a:defRPr/>
            </a:lvl3pPr>
            <a:lvl4pPr>
              <a:tabLst>
                <a:tab pos="6705474" algn="r"/>
              </a:tabLst>
              <a:defRPr/>
            </a:lvl4pPr>
            <a:lvl5pPr>
              <a:tabLst>
                <a:tab pos="670547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294431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1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0"/>
              </a:spcAft>
              <a:defRPr/>
            </a:lvl7pPr>
            <a:lvl8pPr marL="475191" indent="-235196">
              <a:spcAft>
                <a:spcPts val="0"/>
              </a:spcAft>
              <a:defRPr/>
            </a:lvl8pPr>
            <a:lvl9pPr marL="475191" indent="-2351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0"/>
              </a:spcAft>
              <a:defRPr/>
            </a:lvl7pPr>
            <a:lvl8pPr marL="475191" indent="-235196">
              <a:spcAft>
                <a:spcPts val="0"/>
              </a:spcAft>
              <a:defRPr/>
            </a:lvl8pPr>
            <a:lvl9pPr marL="475191" indent="-2351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6" y="307657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0"/>
              </a:spcAft>
              <a:defRPr/>
            </a:lvl7pPr>
            <a:lvl8pPr marL="475191" indent="-235196">
              <a:spcAft>
                <a:spcPts val="0"/>
              </a:spcAft>
              <a:defRPr/>
            </a:lvl8pPr>
            <a:lvl9pPr marL="475191" indent="-2351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0"/>
              </a:spcAft>
              <a:defRPr/>
            </a:lvl7pPr>
            <a:lvl8pPr marL="475191" indent="-235196">
              <a:spcAft>
                <a:spcPts val="0"/>
              </a:spcAft>
              <a:defRPr/>
            </a:lvl8pPr>
            <a:lvl9pPr marL="475191" indent="-2351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948811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7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1" indent="-127001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118559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10" y="1700214"/>
            <a:ext cx="3639311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4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10" y="3832225"/>
            <a:ext cx="3639311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5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959866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057147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3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1" y="1857893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/>
        </p:nvSpPr>
        <p:spPr>
          <a:xfrm>
            <a:off x="469899" y="1705380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80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2"/>
            <a:ext cx="1244161" cy="549275"/>
          </a:xfrm>
        </p:spPr>
        <p:txBody>
          <a:bodyPr/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8"/>
            <a:ext cx="1244906" cy="549275"/>
          </a:xfrm>
        </p:spPr>
        <p:txBody>
          <a:bodyPr/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417919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3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1" y="1857893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69899" y="1705380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80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7" y="4249684"/>
            <a:ext cx="1274916" cy="549275"/>
          </a:xfrm>
        </p:spPr>
        <p:txBody>
          <a:bodyPr>
            <a:noAutofit/>
          </a:bodyPr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8"/>
            <a:ext cx="1244906" cy="549275"/>
          </a:xfrm>
        </p:spPr>
        <p:txBody>
          <a:bodyPr>
            <a:noAutofit/>
          </a:bodyPr>
          <a:lstStyle>
            <a:lvl1pPr marL="0" marR="0" indent="0" algn="l" defTabSz="121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588750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9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9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8" y="1705969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2"/>
            <a:ext cx="36301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2"/>
            <a:ext cx="362743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7" y="1851442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087774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28217"/>
            <a:ext cx="689908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74720"/>
            <a:ext cx="689908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7CE22-99C8-4AA1-B80A-420B68B7E283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25507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91" indent="-235196">
              <a:spcAft>
                <a:spcPts val="1333"/>
              </a:spcAft>
              <a:defRPr/>
            </a:lvl7pPr>
            <a:lvl8pPr marL="475191" indent="-235196">
              <a:spcAft>
                <a:spcPts val="1333"/>
              </a:spcAft>
              <a:defRPr/>
            </a:lvl8pPr>
            <a:lvl9pPr marL="475191" indent="-235196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865903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1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2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4" indent="-127001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91" indent="-235196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91" indent="-235196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/>
        </p:nvSpPr>
        <p:spPr>
          <a:xfrm>
            <a:off x="6336001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/>
        </p:nvSpPr>
        <p:spPr>
          <a:xfrm>
            <a:off x="46990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3489440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5470916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810211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478558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6" y="4102101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4"/>
          </a:xfrm>
        </p:spPr>
        <p:txBody>
          <a:bodyPr anchor="b" anchorCtr="0"/>
          <a:lstStyle>
            <a:lvl1pPr>
              <a:lnSpc>
                <a:spcPct val="100000"/>
              </a:lnSpc>
              <a:defRPr sz="1266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57975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 - Deloitte dark green">
    <p:bg bwMode="gray">
      <p:bgPr>
        <a:solidFill>
          <a:srgbClr val="00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7315200" cy="1592404"/>
          </a:xfrm>
        </p:spPr>
        <p:txBody>
          <a:bodyPr anchor="b">
            <a:normAutofit/>
          </a:bodyPr>
          <a:lstStyle>
            <a:lvl1pPr>
              <a:lnSpc>
                <a:spcPct val="95000"/>
              </a:lnSpc>
              <a:defRPr sz="3000" b="1">
                <a:solidFill>
                  <a:schemeClr val="bg1"/>
                </a:solidFill>
                <a:latin typeface="Open Sans Light" panose="020B03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87636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425428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000" b="0" i="0">
                <a:solidFill>
                  <a:srgbClr val="25880D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9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867388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48F58-AB9B-444B-8861-6CBCAE7D18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EB0513-FB49-476D-8A43-DA5EAE6D3D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16759-BCD3-4F26-8885-3E6786073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170FF-37EF-46C8-A504-3A7504F34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9FC26A-872A-4867-AE03-FA09A76CB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1094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1971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8E5C4-8A10-401F-BAF6-D014F2970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EE6342-133A-4CCE-9B23-B6281FD13B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C3AD76-EAB2-4B9B-88F9-EF57383B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347892-A256-4D4B-B21A-6E6CC5486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46BCD5-F02B-49FC-B9B2-C02C10BE0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76836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553AF-4248-41EF-9669-0DED9D968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21D4A4-2F97-4148-BF15-2F0EDB9979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98AE25-64EA-4ADB-9494-43769A96A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6168C-F128-49CB-B746-2875030D6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6C8A2-7314-4735-9192-4954BE778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94989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D2736-417A-42EB-A10C-57C719979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5DF56A-5440-4E4D-8D98-FBFBDB6874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DB7F0-8C18-42AF-BC64-7CF6DD357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BE6FC-D6A2-4563-837A-74DDC78AB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CDBF55-6A9A-4D46-982F-6693BEEBE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78037C-A893-4D81-B838-2109EC890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6086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4FEA4-9061-4A98-9C01-029E82A0C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A319B-65B4-487A-99D9-C4E4917D0A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1F00C4-B94B-4289-B130-48B3F3A8C4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DA3743-BE8D-4777-ACFF-C01C2D2066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9C36DB-7C5D-44D9-AA93-4D65B1518C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A29367-FAD2-4B6D-AE9F-994818853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5BB6CD-C05A-4F11-873E-EE4DE6FFC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873F82-D855-4668-A9E1-4499B1824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99867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3C7B0-015F-49E8-8193-8249D884A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844CA8-0729-4DC9-BFCD-87A74A02D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5220C4-3F28-4134-919C-7FE0C4D5E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691F07-4C02-4EE4-9EF1-246630C49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812504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098AF7-3B10-4CC9-988B-782B4D542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9A18DC-DADA-48FC-ACC5-EB3131498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00A20-8209-49EA-8C5E-E1202E828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411195-9617-41D1-A0F8-0846FA69AF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227683" cy="6858000"/>
          </a:xfrm>
          <a:custGeom>
            <a:avLst/>
            <a:gdLst>
              <a:gd name="connsiteX0" fmla="*/ 0 w 7227683"/>
              <a:gd name="connsiteY0" fmla="*/ 0 h 6858000"/>
              <a:gd name="connsiteX1" fmla="*/ 40369 w 7227683"/>
              <a:gd name="connsiteY1" fmla="*/ 0 h 6858000"/>
              <a:gd name="connsiteX2" fmla="*/ 40423 w 7227683"/>
              <a:gd name="connsiteY2" fmla="*/ 2 h 6858000"/>
              <a:gd name="connsiteX3" fmla="*/ 6096000 w 7227683"/>
              <a:gd name="connsiteY3" fmla="*/ 2 h 6858000"/>
              <a:gd name="connsiteX4" fmla="*/ 6096000 w 7227683"/>
              <a:gd name="connsiteY4" fmla="*/ 2297317 h 6858000"/>
              <a:gd name="connsiteX5" fmla="*/ 7227683 w 7227683"/>
              <a:gd name="connsiteY5" fmla="*/ 3429000 h 6858000"/>
              <a:gd name="connsiteX6" fmla="*/ 6096000 w 7227683"/>
              <a:gd name="connsiteY6" fmla="*/ 4560683 h 6858000"/>
              <a:gd name="connsiteX7" fmla="*/ 6096000 w 7227683"/>
              <a:gd name="connsiteY7" fmla="*/ 6858000 h 6858000"/>
              <a:gd name="connsiteX8" fmla="*/ 0 w 7227683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27683" h="6858000">
                <a:moveTo>
                  <a:pt x="0" y="0"/>
                </a:moveTo>
                <a:lnTo>
                  <a:pt x="40369" y="0"/>
                </a:lnTo>
                <a:lnTo>
                  <a:pt x="40423" y="2"/>
                </a:lnTo>
                <a:lnTo>
                  <a:pt x="6096000" y="2"/>
                </a:lnTo>
                <a:lnTo>
                  <a:pt x="6096000" y="2297317"/>
                </a:lnTo>
                <a:lnTo>
                  <a:pt x="7227683" y="3429000"/>
                </a:lnTo>
                <a:lnTo>
                  <a:pt x="6096000" y="4560683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/>
              <a:t>Your Picture Here And Send To Back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39844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E3F18-357A-4B81-9710-B5EBFC847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FEA06-74F5-4436-B019-49ADB107F1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47FDAA-B3F6-4452-AD7C-B732D93B9C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D9263E-05AA-4B0A-B5AB-BAD6E6569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7A73DE-E3C5-4140-841E-A54932BF0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8AF902-C437-4328-A73E-A0D1544E6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67207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1E689-9883-4DE4-98DD-D19ED58D7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C6B8E0-709B-4B72-82F2-9DA381DDE2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4934D-0337-4B54-BDBF-61C06092D3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AFA9D3-3E67-456A-9C20-921284989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2C516B-BAF4-4314-98F9-1EE2F02F2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9B8A48-2048-4C5D-B365-BF59CBC4C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369706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756-83A0-4C83-A813-6D784901A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381DBA-4C1E-41BC-8E0F-3033FE2E4C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11F7DD-B8A9-49F5-9F2E-C619EF9AF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3753C2-6FC3-4745-BEB2-4F1CC132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6CD373-CE0C-4271-B088-431AA3FF4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7843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3B9725-8BDC-47DB-A2A4-8266E87EFF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1EE3310-6782-4BC9-B77E-3FF4B812D7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6231F6-3A63-487C-8399-9F02C7F18E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BE9AC0-CF41-4B5E-B18C-C5826554F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D9BAA5-0030-450E-BF63-E409D741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6244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oleObject" Target="../embeddings/oleObject2.bin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tags" Target="../tags/tag18.xml"/><Relationship Id="rId20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101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0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</p:spTree>
    <p:custDataLst>
      <p:tags r:id="rId46"/>
    </p:custDataLst>
    <p:extLst>
      <p:ext uri="{BB962C8B-B14F-4D97-AF65-F5344CB8AC3E}">
        <p14:creationId xmlns:p14="http://schemas.microsoft.com/office/powerpoint/2010/main" val="186334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47" r:id="rId2"/>
    <p:sldLayoutId id="2147483948" r:id="rId3"/>
    <p:sldLayoutId id="2147483944" r:id="rId4"/>
    <p:sldLayoutId id="2147483949" r:id="rId5"/>
    <p:sldLayoutId id="2147483950" r:id="rId6"/>
    <p:sldLayoutId id="2147483951" r:id="rId7"/>
    <p:sldLayoutId id="2147484012" r:id="rId8"/>
    <p:sldLayoutId id="2147483994" r:id="rId9"/>
    <p:sldLayoutId id="2147483995" r:id="rId10"/>
    <p:sldLayoutId id="2147483996" r:id="rId11"/>
    <p:sldLayoutId id="2147483997" r:id="rId12"/>
    <p:sldLayoutId id="2147483998" r:id="rId13"/>
    <p:sldLayoutId id="2147483999" r:id="rId14"/>
    <p:sldLayoutId id="2147484000" r:id="rId15"/>
    <p:sldLayoutId id="2147483952" r:id="rId16"/>
    <p:sldLayoutId id="2147483954" r:id="rId17"/>
    <p:sldLayoutId id="2147484010" r:id="rId18"/>
    <p:sldLayoutId id="2147484011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53" r:id="rId25"/>
    <p:sldLayoutId id="2147483960" r:id="rId26"/>
    <p:sldLayoutId id="2147483961" r:id="rId27"/>
    <p:sldLayoutId id="2147483962" r:id="rId28"/>
    <p:sldLayoutId id="2147483963" r:id="rId29"/>
    <p:sldLayoutId id="2147483964" r:id="rId30"/>
    <p:sldLayoutId id="2147483965" r:id="rId31"/>
    <p:sldLayoutId id="2147483966" r:id="rId32"/>
    <p:sldLayoutId id="2147483967" r:id="rId33"/>
    <p:sldLayoutId id="2147483973" r:id="rId34"/>
    <p:sldLayoutId id="2147483974" r:id="rId35"/>
    <p:sldLayoutId id="2147483975" r:id="rId36"/>
    <p:sldLayoutId id="2147484001" r:id="rId37"/>
    <p:sldLayoutId id="2147484002" r:id="rId38"/>
    <p:sldLayoutId id="2147484003" r:id="rId39"/>
    <p:sldLayoutId id="2147484004" r:id="rId40"/>
    <p:sldLayoutId id="2147484005" r:id="rId41"/>
    <p:sldLayoutId id="2147484006" r:id="rId42"/>
    <p:sldLayoutId id="2147483977" r:id="rId43"/>
    <p:sldLayoutId id="2147484014" r:id="rId44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 userDrawn="1">
          <p15:clr>
            <a:srgbClr val="F26B43"/>
          </p15:clr>
        </p15:guide>
        <p15:guide id="49" orient="horz" pos="432" userDrawn="1">
          <p15:clr>
            <a:srgbClr val="F26B43"/>
          </p15:clr>
        </p15:guide>
        <p15:guide id="68" orient="horz" pos="4104" userDrawn="1">
          <p15:clr>
            <a:srgbClr val="F26B43"/>
          </p15:clr>
        </p15:guide>
        <p15:guide id="69" orient="horz" pos="2088" userDrawn="1">
          <p15:clr>
            <a:srgbClr val="F26B43"/>
          </p15:clr>
        </p15:guide>
        <p15:guide id="70" orient="horz" pos="1080" userDrawn="1">
          <p15:clr>
            <a:srgbClr val="F26B43"/>
          </p15:clr>
        </p15:guide>
        <p15:guide id="71" orient="horz" pos="216" userDrawn="1">
          <p15:clr>
            <a:srgbClr val="F26B43"/>
          </p15:clr>
        </p15:guide>
        <p15:guide id="72" pos="3840" userDrawn="1">
          <p15:clr>
            <a:srgbClr val="F26B43"/>
          </p15:clr>
        </p15:guide>
        <p15:guide id="73" pos="3936" userDrawn="1">
          <p15:clr>
            <a:srgbClr val="F26B43"/>
          </p15:clr>
        </p15:guide>
        <p15:guide id="74" pos="288" userDrawn="1">
          <p15:clr>
            <a:srgbClr val="F26B43"/>
          </p15:clr>
        </p15:guide>
        <p15:guide id="75" pos="4960" userDrawn="1">
          <p15:clr>
            <a:srgbClr val="F26B43"/>
          </p15:clr>
        </p15:guide>
        <p15:guide id="76" pos="3744" userDrawn="1">
          <p15:clr>
            <a:srgbClr val="F26B43"/>
          </p15:clr>
        </p15:guide>
        <p15:guide id="77" pos="2720" userDrawn="1">
          <p15:clr>
            <a:srgbClr val="F26B43"/>
          </p15:clr>
        </p15:guide>
        <p15:guide id="78" pos="2528" userDrawn="1">
          <p15:clr>
            <a:srgbClr val="F26B43"/>
          </p15:clr>
        </p15:guide>
        <p15:guide id="79" pos="1312" userDrawn="1">
          <p15:clr>
            <a:srgbClr val="F26B43"/>
          </p15:clr>
        </p15:guide>
        <p15:guide id="80" pos="1504" userDrawn="1">
          <p15:clr>
            <a:srgbClr val="F26B43"/>
          </p15:clr>
        </p15:guide>
        <p15:guide id="81" pos="5152" userDrawn="1">
          <p15:clr>
            <a:srgbClr val="F26B43"/>
          </p15:clr>
        </p15:guide>
        <p15:guide id="82" pos="6176" userDrawn="1">
          <p15:clr>
            <a:srgbClr val="F26B43"/>
          </p15:clr>
        </p15:guide>
        <p15:guide id="83" pos="6368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orient="horz" pos="21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7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1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4920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  <p:sldLayoutId id="2147484042" r:id="rId27"/>
    <p:sldLayoutId id="2147484043" r:id="rId28"/>
    <p:sldLayoutId id="2147484044" r:id="rId29"/>
    <p:sldLayoutId id="2147484045" r:id="rId30"/>
    <p:sldLayoutId id="2147484046" r:id="rId31"/>
    <p:sldLayoutId id="2147484047" r:id="rId32"/>
    <p:sldLayoutId id="2147484048" r:id="rId33"/>
    <p:sldLayoutId id="2147484049" r:id="rId34"/>
    <p:sldLayoutId id="2147484050" r:id="rId35"/>
    <p:sldLayoutId id="2147484051" r:id="rId36"/>
    <p:sldLayoutId id="2147484052" r:id="rId37"/>
    <p:sldLayoutId id="2147484053" r:id="rId38"/>
    <p:sldLayoutId id="2147484054" r:id="rId39"/>
    <p:sldLayoutId id="2147484055" r:id="rId40"/>
    <p:sldLayoutId id="2147484056" r:id="rId41"/>
    <p:sldLayoutId id="2147484057" r:id="rId42"/>
    <p:sldLayoutId id="2147484058" r:id="rId43"/>
    <p:sldLayoutId id="2147484059" r:id="rId44"/>
  </p:sldLayoutIdLst>
  <p:transition>
    <p:fade/>
  </p:transition>
  <p:txStyles>
    <p:titleStyle>
      <a:lvl1pPr algn="l" defTabSz="1219178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8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1" indent="-127001" algn="l" defTabSz="1219178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1" indent="-127001" algn="l" defTabSz="1219178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2" indent="-127001" algn="l" defTabSz="1219178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4" indent="-127001" algn="l" defTabSz="1064663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6" indent="-235196" algn="l" defTabSz="1219178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6" indent="-235196" algn="l" defTabSz="1219178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6" indent="-235196" algn="l" defTabSz="1219178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6" indent="-235196" algn="l" defTabSz="1219178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8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8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66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54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43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32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21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09" algn="l" defTabSz="12191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954909-5996-4580-BAAD-70369332B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51E183-7A1D-467E-A9C0-0566ED802A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8C402C-A38D-4476-A81F-5407C602F2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C76788-7468-42B9-B17F-5C4EFA7F31D8}" type="datetimeFigureOut">
              <a:rPr lang="en-IN" smtClean="0"/>
              <a:t>19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DB850-33B2-4971-B07C-F8BF2A8D1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C3FC9-D4A1-4E54-B4DF-87484561D3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2B6BC-3C59-4360-B88E-DDB54CE07416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5253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F036588-A995-4CD9-A091-5162648410EA}"/>
              </a:ext>
            </a:extLst>
          </p:cNvPr>
          <p:cNvSpPr txBox="1"/>
          <p:nvPr userDrawn="1"/>
        </p:nvSpPr>
        <p:spPr>
          <a:xfrm>
            <a:off x="6335184" y="6494584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SS Finance Training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CFC45261-10B5-4C0B-83EF-5A189A07C699}"/>
              </a:ext>
            </a:extLst>
          </p:cNvPr>
          <p:cNvSpPr txBox="1"/>
          <p:nvPr userDrawn="1"/>
        </p:nvSpPr>
        <p:spPr>
          <a:xfrm>
            <a:off x="469900" y="6494584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© 2020 Deloitte B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68631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5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5" Type="http://schemas.openxmlformats.org/officeDocument/2006/relationships/hyperlink" Target="http://www.monkey.be/" TargetMode="Externa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0.sv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4.xml"/><Relationship Id="rId6" Type="http://schemas.openxmlformats.org/officeDocument/2006/relationships/hyperlink" Target="http://www.deloittelegal.be/" TargetMode="Externa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13B9EA-3722-4B71-B242-9DFA8BD76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5253583"/>
            <a:ext cx="8576361" cy="895983"/>
          </a:xfrm>
        </p:spPr>
        <p:txBody>
          <a:bodyPr/>
          <a:lstStyle/>
          <a:p>
            <a:r>
              <a:rPr lang="nl-BE" dirty="0"/>
              <a:t>Impact van het nieuwe strafwetboek op de fiscaal strafrechtelijke aansprakelijkheid van c</a:t>
            </a:r>
            <a:r>
              <a:rPr lang="nl-BE" sz="3200" dirty="0"/>
              <a:t>ijferberoepen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0CEFD7-161F-46DB-A6EE-4D5F19CF33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217920"/>
            <a:ext cx="5129128" cy="298382"/>
          </a:xfrm>
        </p:spPr>
        <p:txBody>
          <a:bodyPr/>
          <a:lstStyle/>
          <a:p>
            <a:r>
              <a:rPr lang="en-US" dirty="0">
                <a:latin typeface="+mn-lt"/>
              </a:rPr>
              <a:t>Annick Visschers – Deloitte Legal </a:t>
            </a:r>
            <a:r>
              <a:rPr lang="en-US" i="1" dirty="0">
                <a:latin typeface="+mn-lt"/>
              </a:rPr>
              <a:t>Lawyers</a:t>
            </a:r>
            <a:endParaRPr lang="en-US" dirty="0">
              <a:latin typeface="+mn-lt"/>
            </a:endParaRPr>
          </a:p>
        </p:txBody>
      </p:sp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D437280D-130B-3FF4-BC35-52DF8B340E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3929" r="13929"/>
          <a:stretch/>
        </p:blipFill>
        <p:spPr>
          <a:xfrm>
            <a:off x="3196765" y="0"/>
            <a:ext cx="5505777" cy="5556504"/>
          </a:xfr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008061B-084F-03F2-4737-FD2FFB8407A8}"/>
              </a:ext>
            </a:extLst>
          </p:cNvPr>
          <p:cNvSpPr txBox="1"/>
          <p:nvPr/>
        </p:nvSpPr>
        <p:spPr>
          <a:xfrm>
            <a:off x="442883" y="840966"/>
            <a:ext cx="14854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gal</a:t>
            </a:r>
            <a:endParaRPr lang="en-BE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2410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270535" y="1573190"/>
            <a:ext cx="10600624" cy="50962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ym typeface="Wingdings" panose="05000000000000000000" pitchFamily="2" charset="2"/>
              </a:rPr>
              <a:t>NIVEAU 3 – NATUURLIJKE PERSONEN</a:t>
            </a:r>
          </a:p>
          <a:p>
            <a:r>
              <a:rPr lang="en-US" sz="1600" u="sng" dirty="0" err="1">
                <a:sym typeface="Wingdings" panose="05000000000000000000" pitchFamily="2" charset="2"/>
              </a:rPr>
              <a:t>Hoofdstraffen</a:t>
            </a:r>
            <a:r>
              <a:rPr lang="en-US" sz="1600" u="sng" dirty="0">
                <a:sym typeface="Wingdings" panose="05000000000000000000" pitchFamily="2" charset="2"/>
              </a:rPr>
              <a:t> (art. 36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vangenisstraf van drie jaar tot ten hoogste vijf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</a:rPr>
              <a:t>de behandeling onder vrijheidsberoving van twee jaar tot ten hoogste vier jaar.</a:t>
            </a: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600" b="0" u="sng" dirty="0"/>
              <a:t>Bijkomende straffen (art. 37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verlengde opvolg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boete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(verruimde)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het beroepsverbod en/of 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ontzetting uit bepaalde burgerlijke en politieke rechten, de bekendmaking van de beslissing houdende veroordeling, het verblijfs-, plaats- of contactverbod.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121005689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270535" y="1573190"/>
            <a:ext cx="10600624" cy="50962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ym typeface="Wingdings" panose="05000000000000000000" pitchFamily="2" charset="2"/>
              </a:rPr>
              <a:t>NIVEAU 3 – RECHTSPERSONEN</a:t>
            </a:r>
          </a:p>
          <a:p>
            <a:endParaRPr lang="en-US" sz="1600" b="1" dirty="0">
              <a:sym typeface="Wingdings" panose="05000000000000000000" pitchFamily="2" charset="2"/>
            </a:endParaRPr>
          </a:p>
          <a:p>
            <a:r>
              <a:rPr lang="en-US" sz="1600" u="sng" dirty="0" err="1">
                <a:sym typeface="Wingdings" panose="05000000000000000000" pitchFamily="2" charset="2"/>
              </a:rPr>
              <a:t>Hoofdstraffen</a:t>
            </a:r>
            <a:r>
              <a:rPr lang="en-US" sz="1600" u="sng" dirty="0">
                <a:sym typeface="Wingdings" panose="05000000000000000000" pitchFamily="2" charset="2"/>
              </a:rPr>
              <a:t> (art. 38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boete van 360.000 EUR tot ten hoogste 600.000 EUR;</a:t>
            </a: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endParaRPr lang="nl-NL" sz="1600" b="0" u="sng" dirty="0"/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600" b="0" u="sng" dirty="0"/>
              <a:t>Bijkomende straffen (art. 39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(verruimde)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het verbod om een activiteit die deel uitmaakt van het voorwerp uit te oefenen voor een periode van een jaar tot ten hoogste tien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bekendmaking van de beslissing houdende veroordeling. 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333837109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DE WET VAN 16 MEI 2024 HOUDENDE DE AANPASSING VAN HET BIJZONDER FISCAAL STRAFRECHT AAN HET NIEUW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83906" y="714663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1800" dirty="0">
                <a:solidFill>
                  <a:schemeClr val="bg2">
                    <a:lumMod val="50000"/>
                  </a:schemeClr>
                </a:solidFill>
              </a:rPr>
              <a:t>DE DOORWERKING VAN HET NIEUWE STRAFWETBOEK NAAR HET BIJZONDER FISCAAL STRAFRECH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3D0D294B-8375-32D8-B1BF-2DEA9B31C875}"/>
              </a:ext>
            </a:extLst>
          </p:cNvPr>
          <p:cNvSpPr txBox="1">
            <a:spLocks/>
          </p:cNvSpPr>
          <p:nvPr/>
        </p:nvSpPr>
        <p:spPr>
          <a:xfrm>
            <a:off x="1068404" y="1453415"/>
            <a:ext cx="11065845" cy="4720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ym typeface="Wingdings" panose="05000000000000000000" pitchFamily="2" charset="2"/>
              </a:rPr>
              <a:t>Doel</a:t>
            </a:r>
            <a:r>
              <a:rPr lang="en-US" sz="1600" dirty="0">
                <a:sym typeface="Wingdings" panose="05000000000000000000" pitchFamily="2" charset="2"/>
              </a:rPr>
              <a:t> van de Wet van 16 </a:t>
            </a:r>
            <a:r>
              <a:rPr lang="en-US" sz="1600" dirty="0" err="1">
                <a:sym typeface="Wingdings" panose="05000000000000000000" pitchFamily="2" charset="2"/>
              </a:rPr>
              <a:t>mei</a:t>
            </a:r>
            <a:r>
              <a:rPr lang="en-US" sz="1600" dirty="0">
                <a:sym typeface="Wingdings" panose="05000000000000000000" pitchFamily="2" charset="2"/>
              </a:rPr>
              <a:t> 2024 = </a:t>
            </a:r>
            <a:r>
              <a:rPr lang="nl-BE" sz="1600" b="1" dirty="0">
                <a:sym typeface="Wingdings" panose="05000000000000000000" pitchFamily="2" charset="2"/>
              </a:rPr>
              <a:t>aligneren</a:t>
            </a:r>
            <a:r>
              <a:rPr lang="en-US" sz="1600" dirty="0">
                <a:sym typeface="Wingdings" panose="05000000000000000000" pitchFamily="2" charset="2"/>
              </a:rPr>
              <a:t> van de fiscal</a:t>
            </a:r>
            <a:r>
              <a:rPr lang="nl-BE" sz="1600" dirty="0">
                <a:sym typeface="Wingdings" panose="05000000000000000000" pitchFamily="2" charset="2"/>
              </a:rPr>
              <a:t>e wetboeken (WIB en W.BTW) met het nieuw Strafwetboek (NS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BE" sz="16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BE" sz="1600" b="1" dirty="0">
                <a:sym typeface="Wingdings" panose="05000000000000000000" pitchFamily="2" charset="2"/>
              </a:rPr>
              <a:t>Inwerkingtreding</a:t>
            </a:r>
            <a:r>
              <a:rPr lang="nl-BE" sz="1600" dirty="0">
                <a:sym typeface="Wingdings" panose="05000000000000000000" pitchFamily="2" charset="2"/>
              </a:rPr>
              <a:t> : 8 april 2026 (= samen met het NS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BE" sz="1600" dirty="0">
              <a:sym typeface="Wingdings" panose="05000000000000000000" pitchFamily="2" charset="2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E56A754-20EB-4C40-6A19-8428F8C391B4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</p:spTree>
    <p:extLst>
      <p:ext uri="{BB962C8B-B14F-4D97-AF65-F5344CB8AC3E}">
        <p14:creationId xmlns:p14="http://schemas.microsoft.com/office/powerpoint/2010/main" val="295957900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reeform 16">
            <a:extLst>
              <a:ext uri="{FF2B5EF4-FFF2-40B4-BE49-F238E27FC236}">
                <a16:creationId xmlns:a16="http://schemas.microsoft.com/office/drawing/2014/main" id="{0A8DEE9E-1E8D-7758-1C61-D784F0E0D2ED}"/>
              </a:ext>
            </a:extLst>
          </p:cNvPr>
          <p:cNvSpPr>
            <a:spLocks/>
          </p:cNvSpPr>
          <p:nvPr/>
        </p:nvSpPr>
        <p:spPr bwMode="auto">
          <a:xfrm flipH="1">
            <a:off x="10570459" y="1497009"/>
            <a:ext cx="967270" cy="3793517"/>
          </a:xfrm>
          <a:custGeom>
            <a:avLst/>
            <a:gdLst>
              <a:gd name="T0" fmla="*/ 0 w 1614"/>
              <a:gd name="T1" fmla="*/ 1357 h 1357"/>
              <a:gd name="T2" fmla="*/ 0 w 1614"/>
              <a:gd name="T3" fmla="*/ 1357 h 1357"/>
              <a:gd name="T4" fmla="*/ 1614 w 1614"/>
              <a:gd name="T5" fmla="*/ 1357 h 1357"/>
              <a:gd name="T6" fmla="*/ 1614 w 1614"/>
              <a:gd name="T7" fmla="*/ 0 h 1357"/>
              <a:gd name="T8" fmla="*/ 0 w 1614"/>
              <a:gd name="T9" fmla="*/ 0 h 1357"/>
              <a:gd name="T10" fmla="*/ 0 w 1614"/>
              <a:gd name="T11" fmla="*/ 1357 h 1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14" h="1357">
                <a:moveTo>
                  <a:pt x="0" y="1357"/>
                </a:moveTo>
                <a:lnTo>
                  <a:pt x="0" y="1357"/>
                </a:lnTo>
                <a:lnTo>
                  <a:pt x="1614" y="1357"/>
                </a:lnTo>
                <a:lnTo>
                  <a:pt x="1614" y="0"/>
                </a:lnTo>
                <a:lnTo>
                  <a:pt x="0" y="0"/>
                </a:lnTo>
                <a:lnTo>
                  <a:pt x="0" y="1357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Freeform 17">
            <a:extLst>
              <a:ext uri="{FF2B5EF4-FFF2-40B4-BE49-F238E27FC236}">
                <a16:creationId xmlns:a16="http://schemas.microsoft.com/office/drawing/2014/main" id="{208EC691-73E8-65FA-EEB4-120B881718A1}"/>
              </a:ext>
            </a:extLst>
          </p:cNvPr>
          <p:cNvSpPr>
            <a:spLocks/>
          </p:cNvSpPr>
          <p:nvPr/>
        </p:nvSpPr>
        <p:spPr bwMode="auto">
          <a:xfrm flipH="1">
            <a:off x="10570459" y="1497009"/>
            <a:ext cx="551937" cy="2546962"/>
          </a:xfrm>
          <a:custGeom>
            <a:avLst/>
            <a:gdLst>
              <a:gd name="T0" fmla="*/ 996 w 996"/>
              <a:gd name="T1" fmla="*/ 0 h 1764"/>
              <a:gd name="T2" fmla="*/ 996 w 996"/>
              <a:gd name="T3" fmla="*/ 0 h 1764"/>
              <a:gd name="T4" fmla="*/ 0 w 996"/>
              <a:gd name="T5" fmla="*/ 406 h 1764"/>
              <a:gd name="T6" fmla="*/ 0 w 996"/>
              <a:gd name="T7" fmla="*/ 1764 h 1764"/>
              <a:gd name="T8" fmla="*/ 996 w 996"/>
              <a:gd name="T9" fmla="*/ 1357 h 1764"/>
              <a:gd name="T10" fmla="*/ 996 w 996"/>
              <a:gd name="T11" fmla="*/ 0 h 1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6" h="1764">
                <a:moveTo>
                  <a:pt x="996" y="0"/>
                </a:moveTo>
                <a:lnTo>
                  <a:pt x="996" y="0"/>
                </a:lnTo>
                <a:lnTo>
                  <a:pt x="0" y="406"/>
                </a:lnTo>
                <a:lnTo>
                  <a:pt x="0" y="1764"/>
                </a:lnTo>
                <a:lnTo>
                  <a:pt x="996" y="1357"/>
                </a:lnTo>
                <a:lnTo>
                  <a:pt x="996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18">
            <a:extLst>
              <a:ext uri="{FF2B5EF4-FFF2-40B4-BE49-F238E27FC236}">
                <a16:creationId xmlns:a16="http://schemas.microsoft.com/office/drawing/2014/main" id="{F72F7240-8E41-7464-2F78-7FE695DB2C50}"/>
              </a:ext>
            </a:extLst>
          </p:cNvPr>
          <p:cNvSpPr>
            <a:spLocks/>
          </p:cNvSpPr>
          <p:nvPr/>
        </p:nvSpPr>
        <p:spPr bwMode="auto">
          <a:xfrm flipH="1">
            <a:off x="6474347" y="2093494"/>
            <a:ext cx="4648049" cy="4244989"/>
          </a:xfrm>
          <a:custGeom>
            <a:avLst/>
            <a:gdLst>
              <a:gd name="T0" fmla="*/ 0 w 5735"/>
              <a:gd name="T1" fmla="*/ 1358 h 1358"/>
              <a:gd name="T2" fmla="*/ 0 w 5735"/>
              <a:gd name="T3" fmla="*/ 1358 h 1358"/>
              <a:gd name="T4" fmla="*/ 5735 w 5735"/>
              <a:gd name="T5" fmla="*/ 1358 h 1358"/>
              <a:gd name="T6" fmla="*/ 5735 w 5735"/>
              <a:gd name="T7" fmla="*/ 0 h 1358"/>
              <a:gd name="T8" fmla="*/ 0 w 5735"/>
              <a:gd name="T9" fmla="*/ 0 h 1358"/>
              <a:gd name="T10" fmla="*/ 0 w 5735"/>
              <a:gd name="T11" fmla="*/ 1358 h 1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35" h="1358">
                <a:moveTo>
                  <a:pt x="0" y="1358"/>
                </a:moveTo>
                <a:lnTo>
                  <a:pt x="0" y="1358"/>
                </a:lnTo>
                <a:lnTo>
                  <a:pt x="5735" y="1358"/>
                </a:lnTo>
                <a:lnTo>
                  <a:pt x="5735" y="0"/>
                </a:lnTo>
                <a:lnTo>
                  <a:pt x="0" y="0"/>
                </a:lnTo>
                <a:lnTo>
                  <a:pt x="0" y="13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22">
            <a:extLst>
              <a:ext uri="{FF2B5EF4-FFF2-40B4-BE49-F238E27FC236}">
                <a16:creationId xmlns:a16="http://schemas.microsoft.com/office/drawing/2014/main" id="{5693B472-A3C5-EBF7-7915-9946E675341E}"/>
              </a:ext>
            </a:extLst>
          </p:cNvPr>
          <p:cNvSpPr>
            <a:spLocks/>
          </p:cNvSpPr>
          <p:nvPr/>
        </p:nvSpPr>
        <p:spPr bwMode="auto">
          <a:xfrm>
            <a:off x="1270535" y="1507121"/>
            <a:ext cx="999005" cy="3793517"/>
          </a:xfrm>
          <a:custGeom>
            <a:avLst/>
            <a:gdLst>
              <a:gd name="T0" fmla="*/ 0 w 1614"/>
              <a:gd name="T1" fmla="*/ 1357 h 1357"/>
              <a:gd name="T2" fmla="*/ 0 w 1614"/>
              <a:gd name="T3" fmla="*/ 1357 h 1357"/>
              <a:gd name="T4" fmla="*/ 1614 w 1614"/>
              <a:gd name="T5" fmla="*/ 1357 h 1357"/>
              <a:gd name="T6" fmla="*/ 1614 w 1614"/>
              <a:gd name="T7" fmla="*/ 0 h 1357"/>
              <a:gd name="T8" fmla="*/ 0 w 1614"/>
              <a:gd name="T9" fmla="*/ 0 h 1357"/>
              <a:gd name="T10" fmla="*/ 0 w 1614"/>
              <a:gd name="T11" fmla="*/ 1357 h 1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14" h="1357">
                <a:moveTo>
                  <a:pt x="0" y="1357"/>
                </a:moveTo>
                <a:lnTo>
                  <a:pt x="0" y="1357"/>
                </a:lnTo>
                <a:lnTo>
                  <a:pt x="1614" y="1357"/>
                </a:lnTo>
                <a:lnTo>
                  <a:pt x="1614" y="0"/>
                </a:lnTo>
                <a:lnTo>
                  <a:pt x="0" y="0"/>
                </a:lnTo>
                <a:lnTo>
                  <a:pt x="0" y="1357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253539EE-7418-0206-675D-80CE9CCAE54F}"/>
              </a:ext>
            </a:extLst>
          </p:cNvPr>
          <p:cNvSpPr>
            <a:spLocks/>
          </p:cNvSpPr>
          <p:nvPr/>
        </p:nvSpPr>
        <p:spPr bwMode="auto">
          <a:xfrm>
            <a:off x="1682661" y="1507121"/>
            <a:ext cx="586881" cy="2546962"/>
          </a:xfrm>
          <a:custGeom>
            <a:avLst/>
            <a:gdLst>
              <a:gd name="T0" fmla="*/ 996 w 996"/>
              <a:gd name="T1" fmla="*/ 0 h 1764"/>
              <a:gd name="T2" fmla="*/ 996 w 996"/>
              <a:gd name="T3" fmla="*/ 0 h 1764"/>
              <a:gd name="T4" fmla="*/ 0 w 996"/>
              <a:gd name="T5" fmla="*/ 406 h 1764"/>
              <a:gd name="T6" fmla="*/ 0 w 996"/>
              <a:gd name="T7" fmla="*/ 1764 h 1764"/>
              <a:gd name="T8" fmla="*/ 996 w 996"/>
              <a:gd name="T9" fmla="*/ 1357 h 1764"/>
              <a:gd name="T10" fmla="*/ 996 w 996"/>
              <a:gd name="T11" fmla="*/ 0 h 1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6" h="1764">
                <a:moveTo>
                  <a:pt x="996" y="0"/>
                </a:moveTo>
                <a:lnTo>
                  <a:pt x="996" y="0"/>
                </a:lnTo>
                <a:lnTo>
                  <a:pt x="0" y="406"/>
                </a:lnTo>
                <a:lnTo>
                  <a:pt x="0" y="1764"/>
                </a:lnTo>
                <a:lnTo>
                  <a:pt x="996" y="1357"/>
                </a:lnTo>
                <a:lnTo>
                  <a:pt x="996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E0A7CA64-56D3-F594-9C56-15A19A8B4080}"/>
              </a:ext>
            </a:extLst>
          </p:cNvPr>
          <p:cNvSpPr>
            <a:spLocks/>
          </p:cNvSpPr>
          <p:nvPr/>
        </p:nvSpPr>
        <p:spPr bwMode="auto">
          <a:xfrm>
            <a:off x="1678609" y="2093494"/>
            <a:ext cx="4613104" cy="4244991"/>
          </a:xfrm>
          <a:custGeom>
            <a:avLst/>
            <a:gdLst>
              <a:gd name="T0" fmla="*/ 0 w 5735"/>
              <a:gd name="T1" fmla="*/ 1358 h 1358"/>
              <a:gd name="T2" fmla="*/ 0 w 5735"/>
              <a:gd name="T3" fmla="*/ 1358 h 1358"/>
              <a:gd name="T4" fmla="*/ 5735 w 5735"/>
              <a:gd name="T5" fmla="*/ 1358 h 1358"/>
              <a:gd name="T6" fmla="*/ 5735 w 5735"/>
              <a:gd name="T7" fmla="*/ 0 h 1358"/>
              <a:gd name="T8" fmla="*/ 0 w 5735"/>
              <a:gd name="T9" fmla="*/ 0 h 1358"/>
              <a:gd name="T10" fmla="*/ 0 w 5735"/>
              <a:gd name="T11" fmla="*/ 1358 h 1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35" h="1358">
                <a:moveTo>
                  <a:pt x="0" y="1358"/>
                </a:moveTo>
                <a:lnTo>
                  <a:pt x="0" y="1358"/>
                </a:lnTo>
                <a:lnTo>
                  <a:pt x="5735" y="1358"/>
                </a:lnTo>
                <a:lnTo>
                  <a:pt x="5735" y="0"/>
                </a:lnTo>
                <a:lnTo>
                  <a:pt x="0" y="0"/>
                </a:lnTo>
                <a:lnTo>
                  <a:pt x="0" y="13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F19627-140E-21EF-9647-A6B8E6CBAEAC}"/>
              </a:ext>
            </a:extLst>
          </p:cNvPr>
          <p:cNvSpPr txBox="1"/>
          <p:nvPr/>
        </p:nvSpPr>
        <p:spPr>
          <a:xfrm>
            <a:off x="1770037" y="2161317"/>
            <a:ext cx="452167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1" dirty="0" err="1"/>
              <a:t>Bestraffing</a:t>
            </a:r>
            <a:r>
              <a:rPr lang="en-US" sz="1500" b="1" dirty="0"/>
              <a:t> </a:t>
            </a:r>
            <a:r>
              <a:rPr lang="en-US" sz="1500" b="1" dirty="0" err="1"/>
              <a:t>onder</a:t>
            </a:r>
            <a:r>
              <a:rPr lang="en-US" sz="1500" b="1" dirty="0"/>
              <a:t> </a:t>
            </a:r>
            <a:r>
              <a:rPr lang="en-US" sz="1500" b="1" dirty="0" err="1"/>
              <a:t>huidige</a:t>
            </a:r>
            <a:r>
              <a:rPr lang="en-US" sz="1500" b="1" dirty="0"/>
              <a:t> </a:t>
            </a:r>
            <a:r>
              <a:rPr lang="en-US" sz="1500" b="1" dirty="0" err="1"/>
              <a:t>bepalingen</a:t>
            </a:r>
            <a:endParaRPr lang="en-US" sz="1500" b="1" dirty="0"/>
          </a:p>
          <a:p>
            <a:endParaRPr lang="en-US" sz="1500" u="sng" dirty="0"/>
          </a:p>
          <a:p>
            <a:r>
              <a:rPr lang="en-US" sz="1500" u="sng" dirty="0" err="1"/>
              <a:t>Gewone</a:t>
            </a:r>
            <a:r>
              <a:rPr lang="en-US" sz="1500" u="sng" dirty="0"/>
              <a:t> </a:t>
            </a:r>
            <a:r>
              <a:rPr lang="nl-BE" sz="1500" u="sng" dirty="0"/>
              <a:t>fiscale frau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Gevangenisstraf van 8 dagen tot 2 jaar en geldboete van 250 EUR tot 500.000 EUR of één van die straffen alleen</a:t>
            </a:r>
          </a:p>
          <a:p>
            <a:endParaRPr lang="nl-BE" sz="1500" dirty="0"/>
          </a:p>
          <a:p>
            <a:endParaRPr lang="nl-BE" sz="1500" u="sng" dirty="0"/>
          </a:p>
          <a:p>
            <a:r>
              <a:rPr lang="nl-BE" sz="1500" u="sng" dirty="0"/>
              <a:t>Ernstige fiscale fraude, al dan niet georganise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Gevangenisstraf van 8 dagen tot 5 jaar en geldboete van 250 EUR tot 500.000 EUR of één van die straffen allee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A0391B-D0F2-EF68-E596-F6F97F1CAB93}"/>
              </a:ext>
            </a:extLst>
          </p:cNvPr>
          <p:cNvSpPr txBox="1"/>
          <p:nvPr/>
        </p:nvSpPr>
        <p:spPr>
          <a:xfrm>
            <a:off x="6572204" y="2091081"/>
            <a:ext cx="4732826" cy="4478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500" b="1" dirty="0"/>
              <a:t>Bestraffing onder toekomstige bepalingen</a:t>
            </a:r>
          </a:p>
          <a:p>
            <a:endParaRPr lang="nl-BE" sz="1500" b="1" dirty="0"/>
          </a:p>
          <a:p>
            <a:r>
              <a:rPr lang="nl-BE" sz="1500" u="sng" dirty="0"/>
              <a:t>Gewone fiscale frau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Verplichte (?) gevangenisstraf van niveau 2                                   – i.e. gevangenisstraf van 6 maanden tot 3 ja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Geldboete van 2.000 EUR tot 4.000.000 EU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i="1" dirty="0" err="1">
                <a:solidFill>
                  <a:srgbClr val="DA291C"/>
                </a:solidFill>
              </a:rPr>
              <a:t>Quid</a:t>
            </a:r>
            <a:r>
              <a:rPr lang="nl-BE" sz="1500" i="1" dirty="0">
                <a:solidFill>
                  <a:srgbClr val="DA291C"/>
                </a:solidFill>
              </a:rPr>
              <a:t>, andere (hoofd- en bijkomende) straffen van niveau 2?  Kunnen allicht eveneens worden toegepast  (bv. alternatieve geldstraf o.b.v. verwachte of behaalde voordeel) </a:t>
            </a:r>
            <a:r>
              <a:rPr lang="nl-BE" sz="1500" i="1" dirty="0">
                <a:solidFill>
                  <a:srgbClr val="DA291C"/>
                </a:solidFill>
                <a:sym typeface="Wingdings" panose="05000000000000000000" pitchFamily="2" charset="2"/>
              </a:rPr>
              <a:t> </a:t>
            </a:r>
            <a:r>
              <a:rPr lang="nl-BE" sz="1500" i="1" dirty="0">
                <a:solidFill>
                  <a:srgbClr val="DA291C"/>
                </a:solidFill>
              </a:rPr>
              <a:t> cf. </a:t>
            </a:r>
            <a:r>
              <a:rPr lang="nl-BE" sz="1500" i="1" dirty="0" err="1">
                <a:solidFill>
                  <a:srgbClr val="DA291C"/>
                </a:solidFill>
              </a:rPr>
              <a:t>MvT</a:t>
            </a:r>
            <a:r>
              <a:rPr lang="nl-BE" sz="1400" i="1" dirty="0">
                <a:solidFill>
                  <a:srgbClr val="DA29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BE" sz="1200" i="1" dirty="0">
                <a:solidFill>
                  <a:srgbClr val="DA29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nl-BE" sz="1200" i="1" dirty="0" err="1">
                <a:solidFill>
                  <a:srgbClr val="DA29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l</a:t>
            </a:r>
            <a:r>
              <a:rPr lang="nl-BE" sz="1200" i="1" dirty="0">
                <a:solidFill>
                  <a:srgbClr val="DA29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St. Kamer 2023-24, nr. 3927/001, 5)</a:t>
            </a:r>
            <a:endParaRPr lang="nl-BE" sz="1400" i="1" dirty="0">
              <a:solidFill>
                <a:srgbClr val="DA291C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Hoofdelijke gehoudenheid voor verbeurdverklaring (nieuw art. 450</a:t>
            </a:r>
            <a:r>
              <a:rPr lang="nl-BE" sz="1500" i="1" dirty="0"/>
              <a:t>bis</a:t>
            </a:r>
            <a:r>
              <a:rPr lang="nl-BE" sz="1500" dirty="0"/>
              <a:t>, tweede lid WIB92)</a:t>
            </a:r>
          </a:p>
          <a:p>
            <a:endParaRPr lang="nl-BE" sz="1500" dirty="0"/>
          </a:p>
          <a:p>
            <a:r>
              <a:rPr lang="nl-BE" sz="1500" u="sng" dirty="0"/>
              <a:t>Ernstige fiscale fraude, al dan niet georganise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Verplichte (?) gevangenisstraf van niveau 3                                   – i.e. gevangenisstraf van 3 jaar tot 5 ja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Geldboete van 2.000 EUR tot 4.000.000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i="1" dirty="0">
                <a:solidFill>
                  <a:srgbClr val="DA291C"/>
                </a:solidFill>
              </a:rPr>
              <a:t>Allicht ook andere straffen van niveau 3 (cf. supr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500" dirty="0"/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8D126255-4E88-207E-BD28-F3F7F932469A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607976B7-3809-64E9-BD71-D24D8B355011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363448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(ERNSTIGE) FISCALE FRAUDE, AL DAN NIET GEORGANISEERD                                                                  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Wijziging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van de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artikelen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449 WIB92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en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73 W.BTW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en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wijziging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van art. 450</a:t>
            </a: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bis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WIB92</a:t>
            </a:r>
            <a:endParaRPr lang="en-BE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Copyright">
            <a:extLst>
              <a:ext uri="{FF2B5EF4-FFF2-40B4-BE49-F238E27FC236}">
                <a16:creationId xmlns:a16="http://schemas.microsoft.com/office/drawing/2014/main" id="{4E976401-AFA1-695B-ED09-176B9BAF71E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</a:t>
            </a:r>
          </a:p>
        </p:txBody>
      </p:sp>
    </p:spTree>
    <p:extLst>
      <p:ext uri="{BB962C8B-B14F-4D97-AF65-F5344CB8AC3E}">
        <p14:creationId xmlns:p14="http://schemas.microsoft.com/office/powerpoint/2010/main" val="51893757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pyright">
            <a:extLst>
              <a:ext uri="{FF2B5EF4-FFF2-40B4-BE49-F238E27FC236}">
                <a16:creationId xmlns:a16="http://schemas.microsoft.com/office/drawing/2014/main" id="{8B3A5726-EB9A-B62A-8B65-E02556758115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  <p:pic>
        <p:nvPicPr>
          <p:cNvPr id="14" name="Picture 13" descr="A text on a page&#10;&#10;Description automatically generated">
            <a:extLst>
              <a:ext uri="{FF2B5EF4-FFF2-40B4-BE49-F238E27FC236}">
                <a16:creationId xmlns:a16="http://schemas.microsoft.com/office/drawing/2014/main" id="{0E5C90A2-E221-AF35-F366-4512B32668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0426" y="1715789"/>
            <a:ext cx="4625574" cy="3636399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16" name="Picture 15" descr="A text on a page&#10;&#10;Description automatically generated">
            <a:extLst>
              <a:ext uri="{FF2B5EF4-FFF2-40B4-BE49-F238E27FC236}">
                <a16:creationId xmlns:a16="http://schemas.microsoft.com/office/drawing/2014/main" id="{1B090BEF-E784-8A22-734F-26E13BF06E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073" y="1686881"/>
            <a:ext cx="4647085" cy="3665307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7105884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97448A8-63E1-942B-D140-A753E7C0A0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" y="1851440"/>
            <a:ext cx="3554471" cy="4511260"/>
          </a:xfrm>
        </p:spPr>
        <p:txBody>
          <a:bodyPr/>
          <a:lstStyle/>
          <a:p>
            <a:r>
              <a:rPr lang="en-US" sz="1400" u="sng" dirty="0"/>
              <a:t>AFHANDELING ONDER FISCAAL RECHT</a:t>
            </a:r>
          </a:p>
          <a:p>
            <a:endParaRPr lang="nl-BE" sz="1400" dirty="0">
              <a:solidFill>
                <a:schemeClr val="tx1"/>
              </a:solidFill>
            </a:endParaRPr>
          </a:p>
          <a:p>
            <a:r>
              <a:rPr lang="nl-BE" sz="1400" dirty="0">
                <a:solidFill>
                  <a:schemeClr val="tx1"/>
                </a:solidFill>
              </a:rPr>
              <a:t>CLAIM FIS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Ontdoken belasting (niet fiscaal verjaard):</a:t>
            </a:r>
            <a:r>
              <a:rPr lang="nl-BE" sz="1400" b="0" dirty="0"/>
              <a:t>	</a:t>
            </a:r>
          </a:p>
          <a:p>
            <a:r>
              <a:rPr lang="nl-BE" sz="1400" b="0" dirty="0"/>
              <a:t>	</a:t>
            </a:r>
            <a:r>
              <a:rPr lang="nl-BE" sz="1400" b="0" dirty="0">
                <a:solidFill>
                  <a:schemeClr val="tx1"/>
                </a:solidFill>
              </a:rPr>
              <a:t>3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Belastingverhoging aan 50% (tot 200% mogelijk): </a:t>
            </a:r>
          </a:p>
          <a:p>
            <a:pPr lvl="2" indent="0">
              <a:buNone/>
            </a:pPr>
            <a:r>
              <a:rPr lang="nl-BE" sz="1400" dirty="0"/>
              <a:t>	1.5 MIO EUR</a:t>
            </a:r>
          </a:p>
          <a:p>
            <a:pPr lvl="2" indent="0">
              <a:buNone/>
            </a:pPr>
            <a:endParaRPr lang="nl-BE" sz="1400" dirty="0"/>
          </a:p>
          <a:p>
            <a:pPr lvl="2" indent="0">
              <a:buNone/>
            </a:pPr>
            <a:endParaRPr lang="nl-BE" sz="1400" b="0" dirty="0">
              <a:solidFill>
                <a:schemeClr val="tx1"/>
              </a:solidFill>
            </a:endParaRPr>
          </a:p>
          <a:p>
            <a:pPr lvl="2" indent="0">
              <a:buNone/>
            </a:pPr>
            <a:endParaRPr lang="nl-BE" sz="14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chemeClr val="tx1"/>
                </a:solidFill>
              </a:rPr>
              <a:t>TOTAAL: 4.5 MIO EUR</a:t>
            </a:r>
            <a:r>
              <a:rPr lang="nl-BE" sz="1400" b="0" dirty="0">
                <a:solidFill>
                  <a:schemeClr val="tx1"/>
                </a:solidFill>
              </a:rPr>
              <a:t>*                                       (3 MIO EUR + 1.5 MIO EU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b="0" dirty="0">
              <a:solidFill>
                <a:schemeClr val="tx1"/>
              </a:solidFill>
            </a:endParaRPr>
          </a:p>
          <a:p>
            <a:r>
              <a:rPr lang="nl-BE" b="0" dirty="0">
                <a:solidFill>
                  <a:schemeClr val="tx1"/>
                </a:solidFill>
              </a:rPr>
              <a:t>* Abstractie van retroactieve nalatigheidsinteresten</a:t>
            </a:r>
            <a:endParaRPr lang="nl-BE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>
              <a:solidFill>
                <a:schemeClr val="tx1"/>
              </a:solidFill>
            </a:endParaRPr>
          </a:p>
          <a:p>
            <a:endParaRPr lang="en-US" dirty="0"/>
          </a:p>
          <a:p>
            <a:endParaRPr lang="en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426DC-2F85-72BC-D7BE-D48C2A0E3CE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sz="1400" u="sng" dirty="0"/>
              <a:t>AFHANDELING ONDER STRAFRECHT, HUIDIG REGIME</a:t>
            </a:r>
          </a:p>
          <a:p>
            <a:r>
              <a:rPr lang="en-US" sz="1400" dirty="0">
                <a:solidFill>
                  <a:schemeClr val="tx1"/>
                </a:solidFill>
              </a:rPr>
              <a:t>CLAIM FISCUS </a:t>
            </a:r>
            <a:r>
              <a:rPr lang="nl-BE" sz="1400" b="0" dirty="0">
                <a:solidFill>
                  <a:schemeClr val="tx1"/>
                </a:solidFill>
              </a:rPr>
              <a:t>(via zelfstandige vordering in strafzaak of via fiscale zaak</a:t>
            </a:r>
            <a:r>
              <a:rPr lang="en-US" sz="1400" b="0" dirty="0">
                <a:solidFill>
                  <a:schemeClr val="tx1"/>
                </a:solidFill>
              </a:rPr>
              <a:t>) </a:t>
            </a:r>
            <a:r>
              <a:rPr lang="en-US" sz="1400" dirty="0">
                <a:solidFill>
                  <a:schemeClr val="tx1"/>
                </a:solidFill>
              </a:rPr>
              <a:t>+ CLAIM O.M.</a:t>
            </a:r>
            <a:endParaRPr lang="en-US" sz="14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Ontdoken belasting (niet fiscaal verjaard)</a:t>
            </a:r>
          </a:p>
          <a:p>
            <a:r>
              <a:rPr lang="nl-BE" sz="1400" b="0" dirty="0">
                <a:solidFill>
                  <a:schemeClr val="tx1"/>
                </a:solidFill>
              </a:rPr>
              <a:t>	3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Verbeurdverklaring: 7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Geldboete:</a:t>
            </a:r>
          </a:p>
          <a:p>
            <a:pPr marL="390525" lvl="1" indent="-285750">
              <a:buFont typeface="Wingdings" panose="05000000000000000000" pitchFamily="2" charset="2"/>
              <a:buChar char="Ø"/>
            </a:pPr>
            <a:r>
              <a:rPr lang="nl-BE" sz="1400" b="0" dirty="0"/>
              <a:t>Rechtspersonen: 8 MIO EUR                         (500k EUR * opdeciemen * conversiemechanisme)</a:t>
            </a:r>
          </a:p>
          <a:p>
            <a:pPr marL="390525" lvl="1" indent="-285750">
              <a:buFont typeface="Wingdings" panose="05000000000000000000" pitchFamily="2" charset="2"/>
              <a:buChar char="Ø"/>
            </a:pPr>
            <a:r>
              <a:rPr lang="nl-BE" sz="1400" b="0" dirty="0">
                <a:solidFill>
                  <a:schemeClr val="tx1"/>
                </a:solidFill>
              </a:rPr>
              <a:t>Natuurlijke personen: 4 MIO EUR           (500k EUR * opdeciemen)</a:t>
            </a:r>
          </a:p>
          <a:p>
            <a:pPr lvl="1" indent="0">
              <a:buNone/>
            </a:pPr>
            <a:endParaRPr lang="nl-BE" sz="1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chemeClr val="tx1"/>
                </a:solidFill>
              </a:rPr>
              <a:t>TOTAAL: 18 MIO EUR </a:t>
            </a:r>
            <a:r>
              <a:rPr lang="nl-BE" sz="1400" b="0" dirty="0">
                <a:solidFill>
                  <a:schemeClr val="tx1"/>
                </a:solidFill>
              </a:rPr>
              <a:t>(rechtspersoon)           (3 MIO EUR + 7 MIO EUR + 8 MIO EUR) </a:t>
            </a:r>
            <a:endParaRPr lang="nl-BE" sz="1400" dirty="0">
              <a:solidFill>
                <a:schemeClr val="tx1"/>
              </a:solidFill>
            </a:endParaRPr>
          </a:p>
          <a:p>
            <a:pPr marL="390525" lvl="1" indent="-285750">
              <a:buFont typeface="Wingdings" panose="05000000000000000000" pitchFamily="2" charset="2"/>
              <a:buChar char="ü"/>
            </a:pPr>
            <a:endParaRPr lang="en-BE" sz="140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AA7315-D984-D577-6551-8DF109CA4F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047"/>
            <a:ext cx="3556000" cy="4511260"/>
          </a:xfrm>
        </p:spPr>
        <p:txBody>
          <a:bodyPr/>
          <a:lstStyle/>
          <a:p>
            <a:r>
              <a:rPr lang="en-US" sz="1400" u="sng" dirty="0"/>
              <a:t>AFHANDELING ONDER STRAFRECHT, NIEUW REGIME</a:t>
            </a:r>
          </a:p>
          <a:p>
            <a:r>
              <a:rPr lang="en-US" sz="1400" dirty="0">
                <a:solidFill>
                  <a:schemeClr val="tx1"/>
                </a:solidFill>
              </a:rPr>
              <a:t>CLAIM FISCUS </a:t>
            </a:r>
            <a:r>
              <a:rPr lang="nl-BE" sz="1400" b="0" dirty="0">
                <a:solidFill>
                  <a:schemeClr val="tx1"/>
                </a:solidFill>
              </a:rPr>
              <a:t>(via zelfstandige vordering in strafzaak of via fiscale zaak</a:t>
            </a:r>
            <a:r>
              <a:rPr lang="en-US" sz="1400" b="0" dirty="0">
                <a:solidFill>
                  <a:schemeClr val="tx1"/>
                </a:solidFill>
              </a:rPr>
              <a:t>) </a:t>
            </a:r>
            <a:r>
              <a:rPr lang="en-US" sz="1400" dirty="0">
                <a:solidFill>
                  <a:schemeClr val="tx1"/>
                </a:solidFill>
              </a:rPr>
              <a:t>+ CLAIM O.M.</a:t>
            </a:r>
            <a:endParaRPr lang="en-US" sz="14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Ontdoken belasting (niet fiscaal verjaard)</a:t>
            </a:r>
          </a:p>
          <a:p>
            <a:r>
              <a:rPr lang="nl-BE" sz="1400" b="0" dirty="0">
                <a:solidFill>
                  <a:schemeClr val="tx1"/>
                </a:solidFill>
              </a:rPr>
              <a:t>	3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Verbeurdverklaring: 7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Geldboete:</a:t>
            </a:r>
          </a:p>
          <a:p>
            <a:pPr marL="390525" lvl="1" indent="-285750">
              <a:buFont typeface="Wingdings" panose="05000000000000000000" pitchFamily="2" charset="2"/>
              <a:buChar char="Ø"/>
            </a:pPr>
            <a:r>
              <a:rPr lang="nl-BE" sz="1400" b="0" dirty="0"/>
              <a:t>Rechtspersonen: 4 MIO EUR                         </a:t>
            </a:r>
            <a:r>
              <a:rPr lang="nl-BE" sz="1400" b="0" dirty="0">
                <a:solidFill>
                  <a:schemeClr val="tx1"/>
                </a:solidFill>
              </a:rPr>
              <a:t>Natuurlijke personen: 4 MIO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b="0" dirty="0">
                <a:solidFill>
                  <a:schemeClr val="tx1"/>
                </a:solidFill>
              </a:rPr>
              <a:t>OF: alternatieve geldstraf van maximaal het drievoud van behaalde/verwachte voordeel:</a:t>
            </a:r>
          </a:p>
          <a:p>
            <a:r>
              <a:rPr lang="nl-BE" sz="1400" b="0" dirty="0">
                <a:solidFill>
                  <a:schemeClr val="tx1"/>
                </a:solidFill>
              </a:rPr>
              <a:t>	30 MIO EUR</a:t>
            </a:r>
          </a:p>
          <a:p>
            <a:pPr lvl="1" indent="0">
              <a:buNone/>
            </a:pPr>
            <a:endParaRPr lang="nl-BE" sz="1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chemeClr val="tx1"/>
                </a:solidFill>
              </a:rPr>
              <a:t>TOTAAL: 40 MIO EUR                                              </a:t>
            </a:r>
            <a:r>
              <a:rPr lang="nl-BE" sz="1400" b="0" dirty="0">
                <a:solidFill>
                  <a:schemeClr val="tx1"/>
                </a:solidFill>
              </a:rPr>
              <a:t>(3 MIO EUR + 7 MIO EUR + 30 MIO EUR)</a:t>
            </a:r>
            <a:endParaRPr lang="en-BE" sz="1400" u="sng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677CE6-8ACA-23D9-0E94-44B22F1E1B0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HYPOTHESE : 10 MIO EUR ONTDOKEN BELASTING, WAARVAN</a:t>
            </a:r>
          </a:p>
          <a:p>
            <a:r>
              <a:rPr lang="en-US" dirty="0"/>
              <a:t>- 7 MIO EUR FISCAAL VERJAARD 	- 3 MIO EUR NIET FISCAAL VERJAARD</a:t>
            </a:r>
            <a:endParaRPr lang="en-B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225ABF1-F78E-629B-A752-16DC82500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JFERVOORBEELD FISCALE FRAUDE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412722442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60908" y="7649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lnSpc>
                <a:spcPct val="150000"/>
              </a:lnSpc>
              <a:spcAft>
                <a:spcPts val="120"/>
              </a:spcAft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ct val="0"/>
              </a:spcBef>
              <a:spcAft>
                <a:spcPts val="12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75787B"/>
                </a:solidFill>
              </a:rPr>
              <a:t>DE HOOFDELIJKE AANSPRAKELIJKHEID VOOR DE VERBEURDVERKLAR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60480" y="765653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Aanvulling art. 450</a:t>
            </a:r>
            <a:r>
              <a:rPr lang="nl-BE" sz="2000" i="1" dirty="0">
                <a:solidFill>
                  <a:schemeClr val="bg2">
                    <a:lumMod val="50000"/>
                  </a:schemeClr>
                </a:solidFill>
              </a:rPr>
              <a:t>BIS </a:t>
            </a:r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WIB92 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78F6366-7CB3-2561-A866-B8B1EA92B446}"/>
              </a:ext>
            </a:extLst>
          </p:cNvPr>
          <p:cNvSpPr txBox="1">
            <a:spLocks/>
          </p:cNvSpPr>
          <p:nvPr/>
        </p:nvSpPr>
        <p:spPr>
          <a:xfrm>
            <a:off x="1196340" y="1506957"/>
            <a:ext cx="10832431" cy="46715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Art. 42,3° SW: </a:t>
            </a:r>
          </a:p>
          <a:p>
            <a:pPr lvl="2" algn="just"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nl-NL" sz="1600" dirty="0">
                <a:solidFill>
                  <a:prstClr val="black"/>
                </a:solidFill>
                <a:sym typeface="Wingdings" panose="05000000000000000000" pitchFamily="2" charset="2"/>
              </a:rPr>
              <a:t> 	Principe: verbeurdverklaring van vermogensvoordelen uit fiscale fraude</a:t>
            </a:r>
          </a:p>
          <a:p>
            <a:pPr marL="123825" lvl="2" indent="0" algn="just">
              <a:spcBef>
                <a:spcPts val="300"/>
              </a:spcBef>
              <a:buNone/>
              <a:defRPr/>
            </a:pPr>
            <a:endParaRPr lang="nl-NL" sz="1600" b="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Art. 450</a:t>
            </a:r>
            <a:r>
              <a:rPr lang="nl-NL" sz="1600" b="0" i="1" dirty="0">
                <a:solidFill>
                  <a:prstClr val="black"/>
                </a:solidFill>
                <a:sym typeface="Wingdings" panose="05000000000000000000" pitchFamily="2" charset="2"/>
              </a:rPr>
              <a:t>bis, </a:t>
            </a: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tweede lid WIB92</a:t>
            </a:r>
          </a:p>
          <a:p>
            <a:pPr lvl="2" algn="just"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 	Geen verbeurdverklaring wanneer de </a:t>
            </a:r>
            <a:r>
              <a:rPr lang="nl-NL" sz="1600" dirty="0">
                <a:solidFill>
                  <a:prstClr val="black"/>
                </a:solidFill>
                <a:sym typeface="Wingdings" panose="05000000000000000000" pitchFamily="2" charset="2"/>
              </a:rPr>
              <a:t>vordering van de fiscale administratie gegrond wordt verklaard en tot een effectieve 	betaling van deze volledige vordering heeft geleid</a:t>
            </a:r>
          </a:p>
          <a:p>
            <a:pPr marL="123825" lvl="2" indent="0" algn="just">
              <a:spcBef>
                <a:spcPts val="300"/>
              </a:spcBef>
              <a:buNone/>
              <a:defRPr/>
            </a:pPr>
            <a:endParaRPr lang="nl-NL" sz="16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1" algn="just">
              <a:spcBef>
                <a:spcPts val="300"/>
              </a:spcBef>
              <a:defRPr/>
            </a:pP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Art. 450</a:t>
            </a:r>
            <a:r>
              <a:rPr lang="nl-NL" sz="1600" b="0" i="1" dirty="0">
                <a:solidFill>
                  <a:prstClr val="black"/>
                </a:solidFill>
                <a:sym typeface="Wingdings" panose="05000000000000000000" pitchFamily="2" charset="2"/>
              </a:rPr>
              <a:t>bis</a:t>
            </a:r>
            <a:r>
              <a:rPr lang="nl-NL" sz="1600" b="0" dirty="0">
                <a:solidFill>
                  <a:prstClr val="black"/>
                </a:solidFill>
                <a:sym typeface="Wingdings" panose="05000000000000000000" pitchFamily="2" charset="2"/>
              </a:rPr>
              <a:t>, tweede lid WIB92 (nieuw)</a:t>
            </a:r>
          </a:p>
          <a:p>
            <a:pPr lvl="2" algn="just"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nl-NL" sz="1600" dirty="0">
                <a:solidFill>
                  <a:prstClr val="black"/>
                </a:solidFill>
                <a:sym typeface="Wingdings" panose="05000000000000000000" pitchFamily="2" charset="2"/>
              </a:rPr>
              <a:t> 	Bij gebrek aan effectieve betaling zijn personen die werden veroordeeld voor misdrijf (daders en deelnemers) hoofdelijk 	gehouden tot betaling van de verbeurdverklaring</a:t>
            </a:r>
            <a:endParaRPr lang="nl-NL" sz="1600" b="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267300" lvl="6" indent="0" algn="just">
              <a:spcBef>
                <a:spcPts val="300"/>
              </a:spcBef>
              <a:buNone/>
              <a:defRPr/>
            </a:pPr>
            <a:r>
              <a:rPr lang="nl-NL" sz="1600" dirty="0">
                <a:solidFill>
                  <a:prstClr val="black"/>
                </a:solidFill>
                <a:sym typeface="Wingdings" panose="05000000000000000000" pitchFamily="2" charset="2"/>
              </a:rPr>
              <a:t>	</a:t>
            </a:r>
            <a:endParaRPr lang="nl-BE" sz="14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BE" sz="1400" dirty="0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C6C4D08-A86B-810A-7956-F95129DF03CD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  <p:pic>
        <p:nvPicPr>
          <p:cNvPr id="2" name="Picture 1" descr="Shape, circle&#10;&#10;Description automatically generated">
            <a:extLst>
              <a:ext uri="{FF2B5EF4-FFF2-40B4-BE49-F238E27FC236}">
                <a16:creationId xmlns:a16="http://schemas.microsoft.com/office/drawing/2014/main" id="{EB6B3FE3-2A5F-3942-4B3A-9ED919E3D01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D112CDE-7FD1-5D88-9A3D-41154DEA4109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770525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pyright">
            <a:extLst>
              <a:ext uri="{FF2B5EF4-FFF2-40B4-BE49-F238E27FC236}">
                <a16:creationId xmlns:a16="http://schemas.microsoft.com/office/drawing/2014/main" id="{8B3A5726-EB9A-B62A-8B65-E02556758115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5313FF-90A6-4464-2AC7-27D9739825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5601" y="2251208"/>
            <a:ext cx="7063284" cy="3100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7219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reeform 16">
            <a:extLst>
              <a:ext uri="{FF2B5EF4-FFF2-40B4-BE49-F238E27FC236}">
                <a16:creationId xmlns:a16="http://schemas.microsoft.com/office/drawing/2014/main" id="{0A8DEE9E-1E8D-7758-1C61-D784F0E0D2ED}"/>
              </a:ext>
            </a:extLst>
          </p:cNvPr>
          <p:cNvSpPr>
            <a:spLocks/>
          </p:cNvSpPr>
          <p:nvPr/>
        </p:nvSpPr>
        <p:spPr bwMode="auto">
          <a:xfrm flipH="1">
            <a:off x="10570459" y="1497009"/>
            <a:ext cx="967270" cy="3793517"/>
          </a:xfrm>
          <a:custGeom>
            <a:avLst/>
            <a:gdLst>
              <a:gd name="T0" fmla="*/ 0 w 1614"/>
              <a:gd name="T1" fmla="*/ 1357 h 1357"/>
              <a:gd name="T2" fmla="*/ 0 w 1614"/>
              <a:gd name="T3" fmla="*/ 1357 h 1357"/>
              <a:gd name="T4" fmla="*/ 1614 w 1614"/>
              <a:gd name="T5" fmla="*/ 1357 h 1357"/>
              <a:gd name="T6" fmla="*/ 1614 w 1614"/>
              <a:gd name="T7" fmla="*/ 0 h 1357"/>
              <a:gd name="T8" fmla="*/ 0 w 1614"/>
              <a:gd name="T9" fmla="*/ 0 h 1357"/>
              <a:gd name="T10" fmla="*/ 0 w 1614"/>
              <a:gd name="T11" fmla="*/ 1357 h 1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14" h="1357">
                <a:moveTo>
                  <a:pt x="0" y="1357"/>
                </a:moveTo>
                <a:lnTo>
                  <a:pt x="0" y="1357"/>
                </a:lnTo>
                <a:lnTo>
                  <a:pt x="1614" y="1357"/>
                </a:lnTo>
                <a:lnTo>
                  <a:pt x="1614" y="0"/>
                </a:lnTo>
                <a:lnTo>
                  <a:pt x="0" y="0"/>
                </a:lnTo>
                <a:lnTo>
                  <a:pt x="0" y="1357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Freeform 17">
            <a:extLst>
              <a:ext uri="{FF2B5EF4-FFF2-40B4-BE49-F238E27FC236}">
                <a16:creationId xmlns:a16="http://schemas.microsoft.com/office/drawing/2014/main" id="{208EC691-73E8-65FA-EEB4-120B881718A1}"/>
              </a:ext>
            </a:extLst>
          </p:cNvPr>
          <p:cNvSpPr>
            <a:spLocks/>
          </p:cNvSpPr>
          <p:nvPr/>
        </p:nvSpPr>
        <p:spPr bwMode="auto">
          <a:xfrm flipH="1">
            <a:off x="10570459" y="1497009"/>
            <a:ext cx="551937" cy="2546962"/>
          </a:xfrm>
          <a:custGeom>
            <a:avLst/>
            <a:gdLst>
              <a:gd name="T0" fmla="*/ 996 w 996"/>
              <a:gd name="T1" fmla="*/ 0 h 1764"/>
              <a:gd name="T2" fmla="*/ 996 w 996"/>
              <a:gd name="T3" fmla="*/ 0 h 1764"/>
              <a:gd name="T4" fmla="*/ 0 w 996"/>
              <a:gd name="T5" fmla="*/ 406 h 1764"/>
              <a:gd name="T6" fmla="*/ 0 w 996"/>
              <a:gd name="T7" fmla="*/ 1764 h 1764"/>
              <a:gd name="T8" fmla="*/ 996 w 996"/>
              <a:gd name="T9" fmla="*/ 1357 h 1764"/>
              <a:gd name="T10" fmla="*/ 996 w 996"/>
              <a:gd name="T11" fmla="*/ 0 h 1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6" h="1764">
                <a:moveTo>
                  <a:pt x="996" y="0"/>
                </a:moveTo>
                <a:lnTo>
                  <a:pt x="996" y="0"/>
                </a:lnTo>
                <a:lnTo>
                  <a:pt x="0" y="406"/>
                </a:lnTo>
                <a:lnTo>
                  <a:pt x="0" y="1764"/>
                </a:lnTo>
                <a:lnTo>
                  <a:pt x="996" y="1357"/>
                </a:lnTo>
                <a:lnTo>
                  <a:pt x="996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18">
            <a:extLst>
              <a:ext uri="{FF2B5EF4-FFF2-40B4-BE49-F238E27FC236}">
                <a16:creationId xmlns:a16="http://schemas.microsoft.com/office/drawing/2014/main" id="{F72F7240-8E41-7464-2F78-7FE695DB2C50}"/>
              </a:ext>
            </a:extLst>
          </p:cNvPr>
          <p:cNvSpPr>
            <a:spLocks/>
          </p:cNvSpPr>
          <p:nvPr/>
        </p:nvSpPr>
        <p:spPr bwMode="auto">
          <a:xfrm flipH="1">
            <a:off x="6474347" y="2093494"/>
            <a:ext cx="4609052" cy="3197029"/>
          </a:xfrm>
          <a:custGeom>
            <a:avLst/>
            <a:gdLst>
              <a:gd name="T0" fmla="*/ 0 w 5735"/>
              <a:gd name="T1" fmla="*/ 1358 h 1358"/>
              <a:gd name="T2" fmla="*/ 0 w 5735"/>
              <a:gd name="T3" fmla="*/ 1358 h 1358"/>
              <a:gd name="T4" fmla="*/ 5735 w 5735"/>
              <a:gd name="T5" fmla="*/ 1358 h 1358"/>
              <a:gd name="T6" fmla="*/ 5735 w 5735"/>
              <a:gd name="T7" fmla="*/ 0 h 1358"/>
              <a:gd name="T8" fmla="*/ 0 w 5735"/>
              <a:gd name="T9" fmla="*/ 0 h 1358"/>
              <a:gd name="T10" fmla="*/ 0 w 5735"/>
              <a:gd name="T11" fmla="*/ 1358 h 1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35" h="1358">
                <a:moveTo>
                  <a:pt x="0" y="1358"/>
                </a:moveTo>
                <a:lnTo>
                  <a:pt x="0" y="1358"/>
                </a:lnTo>
                <a:lnTo>
                  <a:pt x="5735" y="1358"/>
                </a:lnTo>
                <a:lnTo>
                  <a:pt x="5735" y="0"/>
                </a:lnTo>
                <a:lnTo>
                  <a:pt x="0" y="0"/>
                </a:lnTo>
                <a:lnTo>
                  <a:pt x="0" y="13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22">
            <a:extLst>
              <a:ext uri="{FF2B5EF4-FFF2-40B4-BE49-F238E27FC236}">
                <a16:creationId xmlns:a16="http://schemas.microsoft.com/office/drawing/2014/main" id="{5693B472-A3C5-EBF7-7915-9946E675341E}"/>
              </a:ext>
            </a:extLst>
          </p:cNvPr>
          <p:cNvSpPr>
            <a:spLocks/>
          </p:cNvSpPr>
          <p:nvPr/>
        </p:nvSpPr>
        <p:spPr bwMode="auto">
          <a:xfrm>
            <a:off x="1270535" y="1507121"/>
            <a:ext cx="999005" cy="3793517"/>
          </a:xfrm>
          <a:custGeom>
            <a:avLst/>
            <a:gdLst>
              <a:gd name="T0" fmla="*/ 0 w 1614"/>
              <a:gd name="T1" fmla="*/ 1357 h 1357"/>
              <a:gd name="T2" fmla="*/ 0 w 1614"/>
              <a:gd name="T3" fmla="*/ 1357 h 1357"/>
              <a:gd name="T4" fmla="*/ 1614 w 1614"/>
              <a:gd name="T5" fmla="*/ 1357 h 1357"/>
              <a:gd name="T6" fmla="*/ 1614 w 1614"/>
              <a:gd name="T7" fmla="*/ 0 h 1357"/>
              <a:gd name="T8" fmla="*/ 0 w 1614"/>
              <a:gd name="T9" fmla="*/ 0 h 1357"/>
              <a:gd name="T10" fmla="*/ 0 w 1614"/>
              <a:gd name="T11" fmla="*/ 1357 h 1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14" h="1357">
                <a:moveTo>
                  <a:pt x="0" y="1357"/>
                </a:moveTo>
                <a:lnTo>
                  <a:pt x="0" y="1357"/>
                </a:lnTo>
                <a:lnTo>
                  <a:pt x="1614" y="1357"/>
                </a:lnTo>
                <a:lnTo>
                  <a:pt x="1614" y="0"/>
                </a:lnTo>
                <a:lnTo>
                  <a:pt x="0" y="0"/>
                </a:lnTo>
                <a:lnTo>
                  <a:pt x="0" y="1357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253539EE-7418-0206-675D-80CE9CCAE54F}"/>
              </a:ext>
            </a:extLst>
          </p:cNvPr>
          <p:cNvSpPr>
            <a:spLocks/>
          </p:cNvSpPr>
          <p:nvPr/>
        </p:nvSpPr>
        <p:spPr bwMode="auto">
          <a:xfrm>
            <a:off x="1682661" y="1507121"/>
            <a:ext cx="586881" cy="2546962"/>
          </a:xfrm>
          <a:custGeom>
            <a:avLst/>
            <a:gdLst>
              <a:gd name="T0" fmla="*/ 996 w 996"/>
              <a:gd name="T1" fmla="*/ 0 h 1764"/>
              <a:gd name="T2" fmla="*/ 996 w 996"/>
              <a:gd name="T3" fmla="*/ 0 h 1764"/>
              <a:gd name="T4" fmla="*/ 0 w 996"/>
              <a:gd name="T5" fmla="*/ 406 h 1764"/>
              <a:gd name="T6" fmla="*/ 0 w 996"/>
              <a:gd name="T7" fmla="*/ 1764 h 1764"/>
              <a:gd name="T8" fmla="*/ 996 w 996"/>
              <a:gd name="T9" fmla="*/ 1357 h 1764"/>
              <a:gd name="T10" fmla="*/ 996 w 996"/>
              <a:gd name="T11" fmla="*/ 0 h 1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6" h="1764">
                <a:moveTo>
                  <a:pt x="996" y="0"/>
                </a:moveTo>
                <a:lnTo>
                  <a:pt x="996" y="0"/>
                </a:lnTo>
                <a:lnTo>
                  <a:pt x="0" y="406"/>
                </a:lnTo>
                <a:lnTo>
                  <a:pt x="0" y="1764"/>
                </a:lnTo>
                <a:lnTo>
                  <a:pt x="996" y="1357"/>
                </a:lnTo>
                <a:lnTo>
                  <a:pt x="996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E0A7CA64-56D3-F594-9C56-15A19A8B4080}"/>
              </a:ext>
            </a:extLst>
          </p:cNvPr>
          <p:cNvSpPr>
            <a:spLocks/>
          </p:cNvSpPr>
          <p:nvPr/>
        </p:nvSpPr>
        <p:spPr bwMode="auto">
          <a:xfrm>
            <a:off x="1682661" y="2093495"/>
            <a:ext cx="4609052" cy="3207144"/>
          </a:xfrm>
          <a:custGeom>
            <a:avLst/>
            <a:gdLst>
              <a:gd name="T0" fmla="*/ 0 w 5735"/>
              <a:gd name="T1" fmla="*/ 1358 h 1358"/>
              <a:gd name="T2" fmla="*/ 0 w 5735"/>
              <a:gd name="T3" fmla="*/ 1358 h 1358"/>
              <a:gd name="T4" fmla="*/ 5735 w 5735"/>
              <a:gd name="T5" fmla="*/ 1358 h 1358"/>
              <a:gd name="T6" fmla="*/ 5735 w 5735"/>
              <a:gd name="T7" fmla="*/ 0 h 1358"/>
              <a:gd name="T8" fmla="*/ 0 w 5735"/>
              <a:gd name="T9" fmla="*/ 0 h 1358"/>
              <a:gd name="T10" fmla="*/ 0 w 5735"/>
              <a:gd name="T11" fmla="*/ 1358 h 1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35" h="1358">
                <a:moveTo>
                  <a:pt x="0" y="1358"/>
                </a:moveTo>
                <a:lnTo>
                  <a:pt x="0" y="1358"/>
                </a:lnTo>
                <a:lnTo>
                  <a:pt x="5735" y="1358"/>
                </a:lnTo>
                <a:lnTo>
                  <a:pt x="5735" y="0"/>
                </a:lnTo>
                <a:lnTo>
                  <a:pt x="0" y="0"/>
                </a:lnTo>
                <a:lnTo>
                  <a:pt x="0" y="13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F19627-140E-21EF-9647-A6B8E6CBAEAC}"/>
              </a:ext>
            </a:extLst>
          </p:cNvPr>
          <p:cNvSpPr txBox="1"/>
          <p:nvPr/>
        </p:nvSpPr>
        <p:spPr>
          <a:xfrm>
            <a:off x="1770037" y="2161317"/>
            <a:ext cx="4521676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500" b="1" dirty="0"/>
              <a:t>Ook poging tot fiscale fraude zal onder nieuwe bepalingen strafbaar zijn</a:t>
            </a:r>
          </a:p>
          <a:p>
            <a:endParaRPr lang="nl-BE" sz="15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Invoeging van nieuw art. 457/2 in WIB92;                      geen gelijkluidende bepaling in WBT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500" dirty="0"/>
              <a:t>Onmiddellijk lager strafniveau </a:t>
            </a:r>
          </a:p>
          <a:p>
            <a:endParaRPr lang="nl-BE" sz="1500" dirty="0"/>
          </a:p>
          <a:p>
            <a:endParaRPr lang="nl-BE" sz="1500" u="sng" dirty="0"/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8D126255-4E88-207E-BD28-F3F7F932469A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607976B7-3809-64E9-BD71-D24D8B355011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363448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POGING TOT (ERNSTIGE) FISCALE FRAUDE, AL DAN NIET GEORGANISEERD                                                                  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Wijziging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artikel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457/2 WIB92 </a:t>
            </a:r>
            <a:endParaRPr lang="en-BE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Copyright">
            <a:extLst>
              <a:ext uri="{FF2B5EF4-FFF2-40B4-BE49-F238E27FC236}">
                <a16:creationId xmlns:a16="http://schemas.microsoft.com/office/drawing/2014/main" id="{4E976401-AFA1-695B-ED09-176B9BAF71E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298652-6D4D-73B7-4565-7FA1AA73BF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2491" y="2230584"/>
            <a:ext cx="4380839" cy="210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8907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pyright">
            <a:extLst>
              <a:ext uri="{FF2B5EF4-FFF2-40B4-BE49-F238E27FC236}">
                <a16:creationId xmlns:a16="http://schemas.microsoft.com/office/drawing/2014/main" id="{BAF8D970-F927-45B4-4A84-EC67A25801C2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2024 Deloitte Legal </a:t>
            </a:r>
          </a:p>
        </p:txBody>
      </p:sp>
      <p:sp>
        <p:nvSpPr>
          <p:cNvPr id="6" name="Freeform 62">
            <a:extLst>
              <a:ext uri="{FF2B5EF4-FFF2-40B4-BE49-F238E27FC236}">
                <a16:creationId xmlns:a16="http://schemas.microsoft.com/office/drawing/2014/main" id="{90C0F093-5415-5B37-CB9A-7FF2A095F0AB}"/>
              </a:ext>
            </a:extLst>
          </p:cNvPr>
          <p:cNvSpPr>
            <a:spLocks/>
          </p:cNvSpPr>
          <p:nvPr/>
        </p:nvSpPr>
        <p:spPr bwMode="auto">
          <a:xfrm rot="20334630" flipH="1">
            <a:off x="6271988" y="1833500"/>
            <a:ext cx="2532069" cy="932855"/>
          </a:xfrm>
          <a:custGeom>
            <a:avLst/>
            <a:gdLst>
              <a:gd name="connsiteX0" fmla="*/ 2889837 w 3557588"/>
              <a:gd name="connsiteY0" fmla="*/ 0 h 1344613"/>
              <a:gd name="connsiteX1" fmla="*/ 2807792 w 3557588"/>
              <a:gd name="connsiteY1" fmla="*/ 5011 h 1344613"/>
              <a:gd name="connsiteX2" fmla="*/ 2779811 w 3557588"/>
              <a:gd name="connsiteY2" fmla="*/ 10189 h 1344613"/>
              <a:gd name="connsiteX3" fmla="*/ 2751682 w 3557588"/>
              <a:gd name="connsiteY3" fmla="*/ 12017 h 1344613"/>
              <a:gd name="connsiteX4" fmla="*/ 2277031 w 3557588"/>
              <a:gd name="connsiteY4" fmla="*/ 316284 h 1344613"/>
              <a:gd name="connsiteX5" fmla="*/ 1905395 w 3557588"/>
              <a:gd name="connsiteY5" fmla="*/ 548953 h 1344613"/>
              <a:gd name="connsiteX6" fmla="*/ 1861105 w 3557588"/>
              <a:gd name="connsiteY6" fmla="*/ 556767 h 1344613"/>
              <a:gd name="connsiteX7" fmla="*/ 1797707 w 3557588"/>
              <a:gd name="connsiteY7" fmla="*/ 559961 h 1344613"/>
              <a:gd name="connsiteX8" fmla="*/ 1280557 w 3557588"/>
              <a:gd name="connsiteY8" fmla="*/ 309934 h 1344613"/>
              <a:gd name="connsiteX9" fmla="*/ 718693 w 3557588"/>
              <a:gd name="connsiteY9" fmla="*/ 0 h 1344613"/>
              <a:gd name="connsiteX10" fmla="*/ 717739 w 3557588"/>
              <a:gd name="connsiteY10" fmla="*/ 0 h 1344613"/>
              <a:gd name="connsiteX11" fmla="*/ 716785 w 3557588"/>
              <a:gd name="connsiteY11" fmla="*/ 0 h 1344613"/>
              <a:gd name="connsiteX12" fmla="*/ 677674 w 3557588"/>
              <a:gd name="connsiteY12" fmla="*/ 957 h 1344613"/>
              <a:gd name="connsiteX13" fmla="*/ 674812 w 3557588"/>
              <a:gd name="connsiteY13" fmla="*/ 1913 h 1344613"/>
              <a:gd name="connsiteX14" fmla="*/ 636655 w 3557588"/>
              <a:gd name="connsiteY14" fmla="*/ 4783 h 1344613"/>
              <a:gd name="connsiteX15" fmla="*/ 635701 w 3557588"/>
              <a:gd name="connsiteY15" fmla="*/ 4783 h 1344613"/>
              <a:gd name="connsiteX16" fmla="*/ 573890 w 3557588"/>
              <a:gd name="connsiteY16" fmla="*/ 15839 h 1344613"/>
              <a:gd name="connsiteX17" fmla="*/ 533340 w 3557588"/>
              <a:gd name="connsiteY17" fmla="*/ 19938 h 1344613"/>
              <a:gd name="connsiteX18" fmla="*/ 0 w 3557588"/>
              <a:gd name="connsiteY18" fmla="*/ 675960 h 1344613"/>
              <a:gd name="connsiteX19" fmla="*/ 667751 w 3557588"/>
              <a:gd name="connsiteY19" fmla="*/ 1344613 h 1344613"/>
              <a:gd name="connsiteX20" fmla="*/ 749126 w 3557588"/>
              <a:gd name="connsiteY20" fmla="*/ 1339688 h 1344613"/>
              <a:gd name="connsiteX21" fmla="*/ 766171 w 3557588"/>
              <a:gd name="connsiteY21" fmla="*/ 1336563 h 1344613"/>
              <a:gd name="connsiteX22" fmla="*/ 796915 w 3557588"/>
              <a:gd name="connsiteY22" fmla="*/ 1333480 h 1344613"/>
              <a:gd name="connsiteX23" fmla="*/ 797869 w 3557588"/>
              <a:gd name="connsiteY23" fmla="*/ 1333480 h 1344613"/>
              <a:gd name="connsiteX24" fmla="*/ 1257663 w 3557588"/>
              <a:gd name="connsiteY24" fmla="*/ 1062767 h 1344613"/>
              <a:gd name="connsiteX25" fmla="*/ 1613681 w 3557588"/>
              <a:gd name="connsiteY25" fmla="*/ 805243 h 1344613"/>
              <a:gd name="connsiteX26" fmla="*/ 1683778 w 3557588"/>
              <a:gd name="connsiteY26" fmla="*/ 787924 h 1344613"/>
              <a:gd name="connsiteX27" fmla="*/ 1714809 w 3557588"/>
              <a:gd name="connsiteY27" fmla="*/ 784054 h 1344613"/>
              <a:gd name="connsiteX28" fmla="*/ 2299925 w 3557588"/>
              <a:gd name="connsiteY28" fmla="*/ 1069117 h 1344613"/>
              <a:gd name="connsiteX29" fmla="*/ 2759719 w 3557588"/>
              <a:gd name="connsiteY29" fmla="*/ 1339830 h 1344613"/>
              <a:gd name="connsiteX30" fmla="*/ 2760673 w 3557588"/>
              <a:gd name="connsiteY30" fmla="*/ 1339830 h 1344613"/>
              <a:gd name="connsiteX31" fmla="*/ 2798831 w 3557588"/>
              <a:gd name="connsiteY31" fmla="*/ 1343657 h 1344613"/>
              <a:gd name="connsiteX32" fmla="*/ 2800738 w 3557588"/>
              <a:gd name="connsiteY32" fmla="*/ 1343657 h 1344613"/>
              <a:gd name="connsiteX33" fmla="*/ 2838896 w 3557588"/>
              <a:gd name="connsiteY33" fmla="*/ 1344613 h 1344613"/>
              <a:gd name="connsiteX34" fmla="*/ 2839850 w 3557588"/>
              <a:gd name="connsiteY34" fmla="*/ 1344613 h 1344613"/>
              <a:gd name="connsiteX35" fmla="*/ 2840803 w 3557588"/>
              <a:gd name="connsiteY35" fmla="*/ 1344613 h 1344613"/>
              <a:gd name="connsiteX36" fmla="*/ 2879915 w 3557588"/>
              <a:gd name="connsiteY36" fmla="*/ 1343657 h 1344613"/>
              <a:gd name="connsiteX37" fmla="*/ 2881822 w 3557588"/>
              <a:gd name="connsiteY37" fmla="*/ 1343657 h 1344613"/>
              <a:gd name="connsiteX38" fmla="*/ 2919980 w 3557588"/>
              <a:gd name="connsiteY38" fmla="*/ 1339830 h 1344613"/>
              <a:gd name="connsiteX39" fmla="*/ 2921887 w 3557588"/>
              <a:gd name="connsiteY39" fmla="*/ 1339830 h 1344613"/>
              <a:gd name="connsiteX40" fmla="*/ 2986964 w 3557588"/>
              <a:gd name="connsiteY40" fmla="*/ 1328445 h 1344613"/>
              <a:gd name="connsiteX41" fmla="*/ 3024248 w 3557588"/>
              <a:gd name="connsiteY41" fmla="*/ 1324677 h 1344613"/>
              <a:gd name="connsiteX42" fmla="*/ 3557588 w 3557588"/>
              <a:gd name="connsiteY42" fmla="*/ 669610 h 1344613"/>
              <a:gd name="connsiteX43" fmla="*/ 2889837 w 3557588"/>
              <a:gd name="connsiteY43" fmla="*/ 0 h 134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557588" h="1344613">
                <a:moveTo>
                  <a:pt x="2889837" y="0"/>
                </a:moveTo>
                <a:cubicBezTo>
                  <a:pt x="2862054" y="0"/>
                  <a:pt x="2834673" y="1704"/>
                  <a:pt x="2807792" y="5011"/>
                </a:cubicBezTo>
                <a:lnTo>
                  <a:pt x="2779811" y="10189"/>
                </a:lnTo>
                <a:lnTo>
                  <a:pt x="2751682" y="12017"/>
                </a:lnTo>
                <a:cubicBezTo>
                  <a:pt x="2551956" y="38186"/>
                  <a:pt x="2380532" y="153066"/>
                  <a:pt x="2277031" y="316284"/>
                </a:cubicBezTo>
                <a:cubicBezTo>
                  <a:pt x="2179730" y="435020"/>
                  <a:pt x="2048088" y="515553"/>
                  <a:pt x="1905395" y="548953"/>
                </a:cubicBezTo>
                <a:lnTo>
                  <a:pt x="1861105" y="556767"/>
                </a:lnTo>
                <a:lnTo>
                  <a:pt x="1797707" y="559961"/>
                </a:lnTo>
                <a:cubicBezTo>
                  <a:pt x="1601078" y="558646"/>
                  <a:pt x="1410292" y="468249"/>
                  <a:pt x="1280557" y="309934"/>
                </a:cubicBezTo>
                <a:cubicBezTo>
                  <a:pt x="1162270" y="123400"/>
                  <a:pt x="955267" y="0"/>
                  <a:pt x="718693" y="0"/>
                </a:cubicBezTo>
                <a:cubicBezTo>
                  <a:pt x="717739" y="0"/>
                  <a:pt x="717739" y="0"/>
                  <a:pt x="717739" y="0"/>
                </a:cubicBezTo>
                <a:cubicBezTo>
                  <a:pt x="717739" y="0"/>
                  <a:pt x="716785" y="0"/>
                  <a:pt x="716785" y="0"/>
                </a:cubicBezTo>
                <a:cubicBezTo>
                  <a:pt x="703430" y="0"/>
                  <a:pt x="691029" y="957"/>
                  <a:pt x="677674" y="957"/>
                </a:cubicBezTo>
                <a:cubicBezTo>
                  <a:pt x="676720" y="957"/>
                  <a:pt x="675766" y="957"/>
                  <a:pt x="674812" y="1913"/>
                </a:cubicBezTo>
                <a:cubicBezTo>
                  <a:pt x="662411" y="1913"/>
                  <a:pt x="650010" y="3826"/>
                  <a:pt x="636655" y="4783"/>
                </a:cubicBezTo>
                <a:cubicBezTo>
                  <a:pt x="636655" y="4783"/>
                  <a:pt x="635701" y="4783"/>
                  <a:pt x="635701" y="4783"/>
                </a:cubicBezTo>
                <a:lnTo>
                  <a:pt x="573890" y="15839"/>
                </a:lnTo>
                <a:lnTo>
                  <a:pt x="533340" y="19938"/>
                </a:lnTo>
                <a:cubicBezTo>
                  <a:pt x="229331" y="82309"/>
                  <a:pt x="0" y="352036"/>
                  <a:pt x="0" y="675960"/>
                </a:cubicBezTo>
                <a:cubicBezTo>
                  <a:pt x="0" y="1045202"/>
                  <a:pt x="299534" y="1344613"/>
                  <a:pt x="667751" y="1344613"/>
                </a:cubicBezTo>
                <a:cubicBezTo>
                  <a:pt x="695296" y="1344613"/>
                  <a:pt x="722453" y="1342939"/>
                  <a:pt x="749126" y="1339688"/>
                </a:cubicBezTo>
                <a:lnTo>
                  <a:pt x="766171" y="1336563"/>
                </a:lnTo>
                <a:lnTo>
                  <a:pt x="796915" y="1333480"/>
                </a:lnTo>
                <a:cubicBezTo>
                  <a:pt x="796915" y="1333480"/>
                  <a:pt x="797869" y="1333480"/>
                  <a:pt x="797869" y="1333480"/>
                </a:cubicBezTo>
                <a:cubicBezTo>
                  <a:pt x="986747" y="1311479"/>
                  <a:pt x="1151777" y="1210081"/>
                  <a:pt x="1257663" y="1062767"/>
                </a:cubicBezTo>
                <a:cubicBezTo>
                  <a:pt x="1363490" y="927948"/>
                  <a:pt x="1486830" y="845162"/>
                  <a:pt x="1613681" y="805243"/>
                </a:cubicBezTo>
                <a:lnTo>
                  <a:pt x="1683778" y="787924"/>
                </a:lnTo>
                <a:lnTo>
                  <a:pt x="1714809" y="784054"/>
                </a:lnTo>
                <a:cubicBezTo>
                  <a:pt x="1916445" y="770901"/>
                  <a:pt x="2130603" y="853407"/>
                  <a:pt x="2299925" y="1069117"/>
                </a:cubicBezTo>
                <a:cubicBezTo>
                  <a:pt x="2405811" y="1216431"/>
                  <a:pt x="2570841" y="1317829"/>
                  <a:pt x="2759719" y="1339830"/>
                </a:cubicBezTo>
                <a:cubicBezTo>
                  <a:pt x="2759719" y="1339830"/>
                  <a:pt x="2760673" y="1339830"/>
                  <a:pt x="2760673" y="1339830"/>
                </a:cubicBezTo>
                <a:cubicBezTo>
                  <a:pt x="2773074" y="1341743"/>
                  <a:pt x="2786429" y="1342700"/>
                  <a:pt x="2798831" y="1343657"/>
                </a:cubicBezTo>
                <a:cubicBezTo>
                  <a:pt x="2799784" y="1343657"/>
                  <a:pt x="2799784" y="1343657"/>
                  <a:pt x="2800738" y="1343657"/>
                </a:cubicBezTo>
                <a:cubicBezTo>
                  <a:pt x="2813139" y="1344613"/>
                  <a:pt x="2826495" y="1344613"/>
                  <a:pt x="2838896" y="1344613"/>
                </a:cubicBezTo>
                <a:cubicBezTo>
                  <a:pt x="2839850" y="1344613"/>
                  <a:pt x="2839850" y="1344613"/>
                  <a:pt x="2839850" y="1344613"/>
                </a:cubicBezTo>
                <a:cubicBezTo>
                  <a:pt x="2839850" y="1344613"/>
                  <a:pt x="2840803" y="1344613"/>
                  <a:pt x="2840803" y="1344613"/>
                </a:cubicBezTo>
                <a:cubicBezTo>
                  <a:pt x="2854158" y="1344613"/>
                  <a:pt x="2866560" y="1344613"/>
                  <a:pt x="2879915" y="1343657"/>
                </a:cubicBezTo>
                <a:cubicBezTo>
                  <a:pt x="2880868" y="1343657"/>
                  <a:pt x="2881822" y="1343657"/>
                  <a:pt x="2881822" y="1343657"/>
                </a:cubicBezTo>
                <a:cubicBezTo>
                  <a:pt x="2895177" y="1342700"/>
                  <a:pt x="2907579" y="1341743"/>
                  <a:pt x="2919980" y="1339830"/>
                </a:cubicBezTo>
                <a:cubicBezTo>
                  <a:pt x="2920934" y="1339830"/>
                  <a:pt x="2920934" y="1339830"/>
                  <a:pt x="2921887" y="1339830"/>
                </a:cubicBezTo>
                <a:lnTo>
                  <a:pt x="2986964" y="1328445"/>
                </a:lnTo>
                <a:lnTo>
                  <a:pt x="3024248" y="1324677"/>
                </a:lnTo>
                <a:cubicBezTo>
                  <a:pt x="3328257" y="1262319"/>
                  <a:pt x="3557588" y="992697"/>
                  <a:pt x="3557588" y="669610"/>
                </a:cubicBezTo>
                <a:cubicBezTo>
                  <a:pt x="3557588" y="299411"/>
                  <a:pt x="3258054" y="0"/>
                  <a:pt x="2889837" y="0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E360838-BE17-DF09-483B-C2FEC3A936FA}"/>
              </a:ext>
            </a:extLst>
          </p:cNvPr>
          <p:cNvCxnSpPr/>
          <p:nvPr/>
        </p:nvCxnSpPr>
        <p:spPr>
          <a:xfrm flipH="1">
            <a:off x="7296876" y="2545627"/>
            <a:ext cx="5837" cy="3892741"/>
          </a:xfrm>
          <a:prstGeom prst="straightConnector1">
            <a:avLst/>
          </a:prstGeom>
          <a:ln>
            <a:solidFill>
              <a:schemeClr val="accent5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59">
            <a:extLst>
              <a:ext uri="{FF2B5EF4-FFF2-40B4-BE49-F238E27FC236}">
                <a16:creationId xmlns:a16="http://schemas.microsoft.com/office/drawing/2014/main" id="{BEF0FEA0-C9EA-5FFC-24B1-F8191E38AA2D}"/>
              </a:ext>
            </a:extLst>
          </p:cNvPr>
          <p:cNvSpPr>
            <a:spLocks/>
          </p:cNvSpPr>
          <p:nvPr/>
        </p:nvSpPr>
        <p:spPr bwMode="auto">
          <a:xfrm rot="20334630" flipH="1">
            <a:off x="1485498" y="1844952"/>
            <a:ext cx="2532069" cy="932855"/>
          </a:xfrm>
          <a:custGeom>
            <a:avLst/>
            <a:gdLst>
              <a:gd name="connsiteX0" fmla="*/ 2889837 w 3557588"/>
              <a:gd name="connsiteY0" fmla="*/ 0 h 1344613"/>
              <a:gd name="connsiteX1" fmla="*/ 2807792 w 3557588"/>
              <a:gd name="connsiteY1" fmla="*/ 5011 h 1344613"/>
              <a:gd name="connsiteX2" fmla="*/ 2779811 w 3557588"/>
              <a:gd name="connsiteY2" fmla="*/ 10189 h 1344613"/>
              <a:gd name="connsiteX3" fmla="*/ 2751682 w 3557588"/>
              <a:gd name="connsiteY3" fmla="*/ 12017 h 1344613"/>
              <a:gd name="connsiteX4" fmla="*/ 2277031 w 3557588"/>
              <a:gd name="connsiteY4" fmla="*/ 316284 h 1344613"/>
              <a:gd name="connsiteX5" fmla="*/ 1905395 w 3557588"/>
              <a:gd name="connsiteY5" fmla="*/ 548953 h 1344613"/>
              <a:gd name="connsiteX6" fmla="*/ 1861105 w 3557588"/>
              <a:gd name="connsiteY6" fmla="*/ 556767 h 1344613"/>
              <a:gd name="connsiteX7" fmla="*/ 1797707 w 3557588"/>
              <a:gd name="connsiteY7" fmla="*/ 559961 h 1344613"/>
              <a:gd name="connsiteX8" fmla="*/ 1280557 w 3557588"/>
              <a:gd name="connsiteY8" fmla="*/ 309934 h 1344613"/>
              <a:gd name="connsiteX9" fmla="*/ 718693 w 3557588"/>
              <a:gd name="connsiteY9" fmla="*/ 0 h 1344613"/>
              <a:gd name="connsiteX10" fmla="*/ 717739 w 3557588"/>
              <a:gd name="connsiteY10" fmla="*/ 0 h 1344613"/>
              <a:gd name="connsiteX11" fmla="*/ 716785 w 3557588"/>
              <a:gd name="connsiteY11" fmla="*/ 0 h 1344613"/>
              <a:gd name="connsiteX12" fmla="*/ 677674 w 3557588"/>
              <a:gd name="connsiteY12" fmla="*/ 957 h 1344613"/>
              <a:gd name="connsiteX13" fmla="*/ 674812 w 3557588"/>
              <a:gd name="connsiteY13" fmla="*/ 1913 h 1344613"/>
              <a:gd name="connsiteX14" fmla="*/ 636655 w 3557588"/>
              <a:gd name="connsiteY14" fmla="*/ 4783 h 1344613"/>
              <a:gd name="connsiteX15" fmla="*/ 635701 w 3557588"/>
              <a:gd name="connsiteY15" fmla="*/ 4783 h 1344613"/>
              <a:gd name="connsiteX16" fmla="*/ 573890 w 3557588"/>
              <a:gd name="connsiteY16" fmla="*/ 15839 h 1344613"/>
              <a:gd name="connsiteX17" fmla="*/ 533340 w 3557588"/>
              <a:gd name="connsiteY17" fmla="*/ 19938 h 1344613"/>
              <a:gd name="connsiteX18" fmla="*/ 0 w 3557588"/>
              <a:gd name="connsiteY18" fmla="*/ 675960 h 1344613"/>
              <a:gd name="connsiteX19" fmla="*/ 667751 w 3557588"/>
              <a:gd name="connsiteY19" fmla="*/ 1344613 h 1344613"/>
              <a:gd name="connsiteX20" fmla="*/ 749126 w 3557588"/>
              <a:gd name="connsiteY20" fmla="*/ 1339688 h 1344613"/>
              <a:gd name="connsiteX21" fmla="*/ 766171 w 3557588"/>
              <a:gd name="connsiteY21" fmla="*/ 1336563 h 1344613"/>
              <a:gd name="connsiteX22" fmla="*/ 796915 w 3557588"/>
              <a:gd name="connsiteY22" fmla="*/ 1333480 h 1344613"/>
              <a:gd name="connsiteX23" fmla="*/ 797869 w 3557588"/>
              <a:gd name="connsiteY23" fmla="*/ 1333480 h 1344613"/>
              <a:gd name="connsiteX24" fmla="*/ 1257663 w 3557588"/>
              <a:gd name="connsiteY24" fmla="*/ 1062767 h 1344613"/>
              <a:gd name="connsiteX25" fmla="*/ 1613681 w 3557588"/>
              <a:gd name="connsiteY25" fmla="*/ 805243 h 1344613"/>
              <a:gd name="connsiteX26" fmla="*/ 1683778 w 3557588"/>
              <a:gd name="connsiteY26" fmla="*/ 787924 h 1344613"/>
              <a:gd name="connsiteX27" fmla="*/ 1714809 w 3557588"/>
              <a:gd name="connsiteY27" fmla="*/ 784054 h 1344613"/>
              <a:gd name="connsiteX28" fmla="*/ 2299925 w 3557588"/>
              <a:gd name="connsiteY28" fmla="*/ 1069117 h 1344613"/>
              <a:gd name="connsiteX29" fmla="*/ 2759719 w 3557588"/>
              <a:gd name="connsiteY29" fmla="*/ 1339830 h 1344613"/>
              <a:gd name="connsiteX30" fmla="*/ 2760673 w 3557588"/>
              <a:gd name="connsiteY30" fmla="*/ 1339830 h 1344613"/>
              <a:gd name="connsiteX31" fmla="*/ 2798831 w 3557588"/>
              <a:gd name="connsiteY31" fmla="*/ 1343657 h 1344613"/>
              <a:gd name="connsiteX32" fmla="*/ 2800738 w 3557588"/>
              <a:gd name="connsiteY32" fmla="*/ 1343657 h 1344613"/>
              <a:gd name="connsiteX33" fmla="*/ 2838896 w 3557588"/>
              <a:gd name="connsiteY33" fmla="*/ 1344613 h 1344613"/>
              <a:gd name="connsiteX34" fmla="*/ 2839850 w 3557588"/>
              <a:gd name="connsiteY34" fmla="*/ 1344613 h 1344613"/>
              <a:gd name="connsiteX35" fmla="*/ 2840803 w 3557588"/>
              <a:gd name="connsiteY35" fmla="*/ 1344613 h 1344613"/>
              <a:gd name="connsiteX36" fmla="*/ 2879915 w 3557588"/>
              <a:gd name="connsiteY36" fmla="*/ 1343657 h 1344613"/>
              <a:gd name="connsiteX37" fmla="*/ 2881822 w 3557588"/>
              <a:gd name="connsiteY37" fmla="*/ 1343657 h 1344613"/>
              <a:gd name="connsiteX38" fmla="*/ 2919980 w 3557588"/>
              <a:gd name="connsiteY38" fmla="*/ 1339830 h 1344613"/>
              <a:gd name="connsiteX39" fmla="*/ 2921887 w 3557588"/>
              <a:gd name="connsiteY39" fmla="*/ 1339830 h 1344613"/>
              <a:gd name="connsiteX40" fmla="*/ 2986964 w 3557588"/>
              <a:gd name="connsiteY40" fmla="*/ 1328445 h 1344613"/>
              <a:gd name="connsiteX41" fmla="*/ 3024248 w 3557588"/>
              <a:gd name="connsiteY41" fmla="*/ 1324677 h 1344613"/>
              <a:gd name="connsiteX42" fmla="*/ 3557588 w 3557588"/>
              <a:gd name="connsiteY42" fmla="*/ 669610 h 1344613"/>
              <a:gd name="connsiteX43" fmla="*/ 2889837 w 3557588"/>
              <a:gd name="connsiteY43" fmla="*/ 0 h 134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557588" h="1344613">
                <a:moveTo>
                  <a:pt x="2889837" y="0"/>
                </a:moveTo>
                <a:cubicBezTo>
                  <a:pt x="2862054" y="0"/>
                  <a:pt x="2834673" y="1704"/>
                  <a:pt x="2807792" y="5011"/>
                </a:cubicBezTo>
                <a:lnTo>
                  <a:pt x="2779811" y="10189"/>
                </a:lnTo>
                <a:lnTo>
                  <a:pt x="2751682" y="12017"/>
                </a:lnTo>
                <a:cubicBezTo>
                  <a:pt x="2551956" y="38186"/>
                  <a:pt x="2380532" y="153066"/>
                  <a:pt x="2277031" y="316284"/>
                </a:cubicBezTo>
                <a:cubicBezTo>
                  <a:pt x="2179730" y="435020"/>
                  <a:pt x="2048088" y="515553"/>
                  <a:pt x="1905395" y="548953"/>
                </a:cubicBezTo>
                <a:lnTo>
                  <a:pt x="1861105" y="556767"/>
                </a:lnTo>
                <a:lnTo>
                  <a:pt x="1797707" y="559961"/>
                </a:lnTo>
                <a:cubicBezTo>
                  <a:pt x="1601078" y="558646"/>
                  <a:pt x="1410292" y="468249"/>
                  <a:pt x="1280557" y="309934"/>
                </a:cubicBezTo>
                <a:cubicBezTo>
                  <a:pt x="1162270" y="123400"/>
                  <a:pt x="955267" y="0"/>
                  <a:pt x="718693" y="0"/>
                </a:cubicBezTo>
                <a:cubicBezTo>
                  <a:pt x="717739" y="0"/>
                  <a:pt x="717739" y="0"/>
                  <a:pt x="717739" y="0"/>
                </a:cubicBezTo>
                <a:cubicBezTo>
                  <a:pt x="717739" y="0"/>
                  <a:pt x="716785" y="0"/>
                  <a:pt x="716785" y="0"/>
                </a:cubicBezTo>
                <a:cubicBezTo>
                  <a:pt x="703430" y="0"/>
                  <a:pt x="691029" y="957"/>
                  <a:pt x="677674" y="957"/>
                </a:cubicBezTo>
                <a:cubicBezTo>
                  <a:pt x="676720" y="957"/>
                  <a:pt x="675766" y="957"/>
                  <a:pt x="674812" y="1913"/>
                </a:cubicBezTo>
                <a:cubicBezTo>
                  <a:pt x="662411" y="1913"/>
                  <a:pt x="650010" y="3826"/>
                  <a:pt x="636655" y="4783"/>
                </a:cubicBezTo>
                <a:cubicBezTo>
                  <a:pt x="636655" y="4783"/>
                  <a:pt x="635701" y="4783"/>
                  <a:pt x="635701" y="4783"/>
                </a:cubicBezTo>
                <a:lnTo>
                  <a:pt x="573890" y="15839"/>
                </a:lnTo>
                <a:lnTo>
                  <a:pt x="533340" y="19938"/>
                </a:lnTo>
                <a:cubicBezTo>
                  <a:pt x="229331" y="82309"/>
                  <a:pt x="0" y="352036"/>
                  <a:pt x="0" y="675960"/>
                </a:cubicBezTo>
                <a:cubicBezTo>
                  <a:pt x="0" y="1045202"/>
                  <a:pt x="299534" y="1344613"/>
                  <a:pt x="667751" y="1344613"/>
                </a:cubicBezTo>
                <a:cubicBezTo>
                  <a:pt x="695296" y="1344613"/>
                  <a:pt x="722453" y="1342939"/>
                  <a:pt x="749126" y="1339688"/>
                </a:cubicBezTo>
                <a:lnTo>
                  <a:pt x="766171" y="1336563"/>
                </a:lnTo>
                <a:lnTo>
                  <a:pt x="796915" y="1333480"/>
                </a:lnTo>
                <a:cubicBezTo>
                  <a:pt x="796915" y="1333480"/>
                  <a:pt x="797869" y="1333480"/>
                  <a:pt x="797869" y="1333480"/>
                </a:cubicBezTo>
                <a:cubicBezTo>
                  <a:pt x="986747" y="1311479"/>
                  <a:pt x="1151777" y="1210081"/>
                  <a:pt x="1257663" y="1062767"/>
                </a:cubicBezTo>
                <a:cubicBezTo>
                  <a:pt x="1363490" y="927948"/>
                  <a:pt x="1486830" y="845162"/>
                  <a:pt x="1613681" y="805243"/>
                </a:cubicBezTo>
                <a:lnTo>
                  <a:pt x="1683778" y="787924"/>
                </a:lnTo>
                <a:lnTo>
                  <a:pt x="1714809" y="784054"/>
                </a:lnTo>
                <a:cubicBezTo>
                  <a:pt x="1916445" y="770901"/>
                  <a:pt x="2130603" y="853407"/>
                  <a:pt x="2299925" y="1069117"/>
                </a:cubicBezTo>
                <a:cubicBezTo>
                  <a:pt x="2405811" y="1216431"/>
                  <a:pt x="2570841" y="1317829"/>
                  <a:pt x="2759719" y="1339830"/>
                </a:cubicBezTo>
                <a:cubicBezTo>
                  <a:pt x="2759719" y="1339830"/>
                  <a:pt x="2760673" y="1339830"/>
                  <a:pt x="2760673" y="1339830"/>
                </a:cubicBezTo>
                <a:cubicBezTo>
                  <a:pt x="2773074" y="1341743"/>
                  <a:pt x="2786429" y="1342700"/>
                  <a:pt x="2798831" y="1343657"/>
                </a:cubicBezTo>
                <a:cubicBezTo>
                  <a:pt x="2799784" y="1343657"/>
                  <a:pt x="2799784" y="1343657"/>
                  <a:pt x="2800738" y="1343657"/>
                </a:cubicBezTo>
                <a:cubicBezTo>
                  <a:pt x="2813139" y="1344613"/>
                  <a:pt x="2826495" y="1344613"/>
                  <a:pt x="2838896" y="1344613"/>
                </a:cubicBezTo>
                <a:cubicBezTo>
                  <a:pt x="2839850" y="1344613"/>
                  <a:pt x="2839850" y="1344613"/>
                  <a:pt x="2839850" y="1344613"/>
                </a:cubicBezTo>
                <a:cubicBezTo>
                  <a:pt x="2839850" y="1344613"/>
                  <a:pt x="2840803" y="1344613"/>
                  <a:pt x="2840803" y="1344613"/>
                </a:cubicBezTo>
                <a:cubicBezTo>
                  <a:pt x="2854158" y="1344613"/>
                  <a:pt x="2866560" y="1344613"/>
                  <a:pt x="2879915" y="1343657"/>
                </a:cubicBezTo>
                <a:cubicBezTo>
                  <a:pt x="2880868" y="1343657"/>
                  <a:pt x="2881822" y="1343657"/>
                  <a:pt x="2881822" y="1343657"/>
                </a:cubicBezTo>
                <a:cubicBezTo>
                  <a:pt x="2895177" y="1342700"/>
                  <a:pt x="2907579" y="1341743"/>
                  <a:pt x="2919980" y="1339830"/>
                </a:cubicBezTo>
                <a:cubicBezTo>
                  <a:pt x="2920934" y="1339830"/>
                  <a:pt x="2920934" y="1339830"/>
                  <a:pt x="2921887" y="1339830"/>
                </a:cubicBezTo>
                <a:lnTo>
                  <a:pt x="2986964" y="1328445"/>
                </a:lnTo>
                <a:lnTo>
                  <a:pt x="3024248" y="1324677"/>
                </a:lnTo>
                <a:cubicBezTo>
                  <a:pt x="3328257" y="1262319"/>
                  <a:pt x="3557588" y="992697"/>
                  <a:pt x="3557588" y="669610"/>
                </a:cubicBezTo>
                <a:cubicBezTo>
                  <a:pt x="3557588" y="299411"/>
                  <a:pt x="3258054" y="0"/>
                  <a:pt x="2889837" y="0"/>
                </a:cubicBezTo>
                <a:close/>
              </a:path>
            </a:pathLst>
          </a:custGeom>
          <a:solidFill>
            <a:srgbClr val="86BC2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1B5B308-ECBC-9857-EC80-EE786228A672}"/>
              </a:ext>
            </a:extLst>
          </p:cNvPr>
          <p:cNvSpPr txBox="1"/>
          <p:nvPr/>
        </p:nvSpPr>
        <p:spPr>
          <a:xfrm>
            <a:off x="3231174" y="1600011"/>
            <a:ext cx="475816" cy="827552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9DCBCD-691A-A195-A05E-E38D7753F760}"/>
              </a:ext>
            </a:extLst>
          </p:cNvPr>
          <p:cNvSpPr txBox="1"/>
          <p:nvPr/>
        </p:nvSpPr>
        <p:spPr>
          <a:xfrm>
            <a:off x="8017664" y="1588558"/>
            <a:ext cx="475816" cy="827552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53189B44-0213-BF76-4476-FF53E0611AFF}"/>
              </a:ext>
            </a:extLst>
          </p:cNvPr>
          <p:cNvSpPr/>
          <p:nvPr/>
        </p:nvSpPr>
        <p:spPr>
          <a:xfrm rot="6739027">
            <a:off x="6992448" y="1487116"/>
            <a:ext cx="742995" cy="750797"/>
          </a:xfrm>
          <a:prstGeom prst="arc">
            <a:avLst>
              <a:gd name="adj1" fmla="val 15382243"/>
              <a:gd name="adj2" fmla="val 1177101"/>
            </a:avLst>
          </a:prstGeom>
          <a:solidFill>
            <a:srgbClr val="0097A9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A79CEEA1-22A3-DCFA-598D-53F2143C9978}"/>
              </a:ext>
            </a:extLst>
          </p:cNvPr>
          <p:cNvSpPr/>
          <p:nvPr/>
        </p:nvSpPr>
        <p:spPr>
          <a:xfrm rot="6739027">
            <a:off x="2212491" y="1502386"/>
            <a:ext cx="742995" cy="750797"/>
          </a:xfrm>
          <a:prstGeom prst="arc">
            <a:avLst>
              <a:gd name="adj1" fmla="val 15382243"/>
              <a:gd name="adj2" fmla="val 1177101"/>
            </a:avLst>
          </a:prstGeom>
          <a:solidFill>
            <a:srgbClr val="86BC25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2B8EF54-8CE4-C639-5A3B-FF7D938AE865}"/>
              </a:ext>
            </a:extLst>
          </p:cNvPr>
          <p:cNvCxnSpPr/>
          <p:nvPr/>
        </p:nvCxnSpPr>
        <p:spPr>
          <a:xfrm flipH="1">
            <a:off x="2501252" y="2545627"/>
            <a:ext cx="5837" cy="3892741"/>
          </a:xfrm>
          <a:prstGeom prst="straightConnector1">
            <a:avLst/>
          </a:prstGeom>
          <a:ln>
            <a:solidFill>
              <a:srgbClr val="86BC25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242">
            <a:extLst>
              <a:ext uri="{FF2B5EF4-FFF2-40B4-BE49-F238E27FC236}">
                <a16:creationId xmlns:a16="http://schemas.microsoft.com/office/drawing/2014/main" id="{FEC2FD50-888D-AF44-BF15-7434FD60B2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6430452" y="2202788"/>
            <a:ext cx="738604" cy="685661"/>
          </a:xfrm>
          <a:custGeom>
            <a:avLst/>
            <a:gdLst>
              <a:gd name="T0" fmla="*/ 117 w 512"/>
              <a:gd name="T1" fmla="*/ 160 h 512"/>
              <a:gd name="T2" fmla="*/ 266 w 512"/>
              <a:gd name="T3" fmla="*/ 160 h 512"/>
              <a:gd name="T4" fmla="*/ 266 w 512"/>
              <a:gd name="T5" fmla="*/ 245 h 512"/>
              <a:gd name="T6" fmla="*/ 181 w 512"/>
              <a:gd name="T7" fmla="*/ 245 h 512"/>
              <a:gd name="T8" fmla="*/ 173 w 512"/>
              <a:gd name="T9" fmla="*/ 248 h 512"/>
              <a:gd name="T10" fmla="*/ 149 w 512"/>
              <a:gd name="T11" fmla="*/ 273 h 512"/>
              <a:gd name="T12" fmla="*/ 149 w 512"/>
              <a:gd name="T13" fmla="*/ 256 h 512"/>
              <a:gd name="T14" fmla="*/ 138 w 512"/>
              <a:gd name="T15" fmla="*/ 245 h 512"/>
              <a:gd name="T16" fmla="*/ 117 w 512"/>
              <a:gd name="T17" fmla="*/ 245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85 w 512"/>
              <a:gd name="T31" fmla="*/ 266 h 512"/>
              <a:gd name="T32" fmla="*/ 277 w 512"/>
              <a:gd name="T33" fmla="*/ 266 h 512"/>
              <a:gd name="T34" fmla="*/ 288 w 512"/>
              <a:gd name="T35" fmla="*/ 256 h 512"/>
              <a:gd name="T36" fmla="*/ 288 w 512"/>
              <a:gd name="T37" fmla="*/ 149 h 512"/>
              <a:gd name="T38" fmla="*/ 277 w 512"/>
              <a:gd name="T39" fmla="*/ 138 h 512"/>
              <a:gd name="T40" fmla="*/ 106 w 512"/>
              <a:gd name="T41" fmla="*/ 138 h 512"/>
              <a:gd name="T42" fmla="*/ 96 w 512"/>
              <a:gd name="T43" fmla="*/ 149 h 512"/>
              <a:gd name="T44" fmla="*/ 96 w 512"/>
              <a:gd name="T45" fmla="*/ 256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98 h 512"/>
              <a:gd name="T52" fmla="*/ 134 w 512"/>
              <a:gd name="T53" fmla="*/ 308 h 512"/>
              <a:gd name="T54" fmla="*/ 138 w 512"/>
              <a:gd name="T55" fmla="*/ 309 h 512"/>
              <a:gd name="T56" fmla="*/ 146 w 512"/>
              <a:gd name="T57" fmla="*/ 306 h 512"/>
              <a:gd name="T58" fmla="*/ 185 w 512"/>
              <a:gd name="T59" fmla="*/ 266 h 512"/>
              <a:gd name="T60" fmla="*/ 416 w 512"/>
              <a:gd name="T61" fmla="*/ 234 h 512"/>
              <a:gd name="T62" fmla="*/ 405 w 512"/>
              <a:gd name="T63" fmla="*/ 224 h 512"/>
              <a:gd name="T64" fmla="*/ 320 w 512"/>
              <a:gd name="T65" fmla="*/ 224 h 512"/>
              <a:gd name="T66" fmla="*/ 309 w 512"/>
              <a:gd name="T67" fmla="*/ 234 h 512"/>
              <a:gd name="T68" fmla="*/ 320 w 512"/>
              <a:gd name="T69" fmla="*/ 245 h 512"/>
              <a:gd name="T70" fmla="*/ 394 w 512"/>
              <a:gd name="T71" fmla="*/ 245 h 512"/>
              <a:gd name="T72" fmla="*/ 394 w 512"/>
              <a:gd name="T73" fmla="*/ 352 h 512"/>
              <a:gd name="T74" fmla="*/ 362 w 512"/>
              <a:gd name="T75" fmla="*/ 352 h 512"/>
              <a:gd name="T76" fmla="*/ 352 w 512"/>
              <a:gd name="T77" fmla="*/ 362 h 512"/>
              <a:gd name="T78" fmla="*/ 352 w 512"/>
              <a:gd name="T79" fmla="*/ 379 h 512"/>
              <a:gd name="T80" fmla="*/ 327 w 512"/>
              <a:gd name="T81" fmla="*/ 355 h 512"/>
              <a:gd name="T82" fmla="*/ 320 w 512"/>
              <a:gd name="T83" fmla="*/ 352 h 512"/>
              <a:gd name="T84" fmla="*/ 245 w 512"/>
              <a:gd name="T85" fmla="*/ 352 h 512"/>
              <a:gd name="T86" fmla="*/ 245 w 512"/>
              <a:gd name="T87" fmla="*/ 298 h 512"/>
              <a:gd name="T88" fmla="*/ 234 w 512"/>
              <a:gd name="T89" fmla="*/ 288 h 512"/>
              <a:gd name="T90" fmla="*/ 224 w 512"/>
              <a:gd name="T91" fmla="*/ 298 h 512"/>
              <a:gd name="T92" fmla="*/ 224 w 512"/>
              <a:gd name="T93" fmla="*/ 362 h 512"/>
              <a:gd name="T94" fmla="*/ 234 w 512"/>
              <a:gd name="T95" fmla="*/ 373 h 512"/>
              <a:gd name="T96" fmla="*/ 315 w 512"/>
              <a:gd name="T97" fmla="*/ 373 h 512"/>
              <a:gd name="T98" fmla="*/ 355 w 512"/>
              <a:gd name="T99" fmla="*/ 413 h 512"/>
              <a:gd name="T100" fmla="*/ 362 w 512"/>
              <a:gd name="T101" fmla="*/ 416 h 512"/>
              <a:gd name="T102" fmla="*/ 366 w 512"/>
              <a:gd name="T103" fmla="*/ 415 h 512"/>
              <a:gd name="T104" fmla="*/ 373 w 512"/>
              <a:gd name="T105" fmla="*/ 405 h 512"/>
              <a:gd name="T106" fmla="*/ 373 w 512"/>
              <a:gd name="T107" fmla="*/ 373 h 512"/>
              <a:gd name="T108" fmla="*/ 405 w 512"/>
              <a:gd name="T109" fmla="*/ 373 h 512"/>
              <a:gd name="T110" fmla="*/ 416 w 512"/>
              <a:gd name="T111" fmla="*/ 362 h 512"/>
              <a:gd name="T112" fmla="*/ 416 w 512"/>
              <a:gd name="T11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78" y="245"/>
                  <a:pt x="175" y="246"/>
                  <a:pt x="173" y="248"/>
                </a:cubicBezTo>
                <a:cubicBezTo>
                  <a:pt x="149" y="273"/>
                  <a:pt x="149" y="273"/>
                  <a:pt x="149" y="273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9" y="250"/>
                  <a:pt x="144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5" y="266"/>
                </a:moveTo>
                <a:cubicBezTo>
                  <a:pt x="277" y="266"/>
                  <a:pt x="277" y="266"/>
                  <a:pt x="277" y="266"/>
                </a:cubicBezTo>
                <a:cubicBezTo>
                  <a:pt x="283" y="266"/>
                  <a:pt x="288" y="262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3"/>
                  <a:pt x="283" y="138"/>
                  <a:pt x="277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03"/>
                  <a:pt x="130" y="307"/>
                  <a:pt x="134" y="308"/>
                </a:cubicBezTo>
                <a:cubicBezTo>
                  <a:pt x="136" y="309"/>
                  <a:pt x="137" y="309"/>
                  <a:pt x="138" y="309"/>
                </a:cubicBezTo>
                <a:cubicBezTo>
                  <a:pt x="141" y="309"/>
                  <a:pt x="144" y="308"/>
                  <a:pt x="146" y="306"/>
                </a:cubicBezTo>
                <a:lnTo>
                  <a:pt x="185" y="266"/>
                </a:lnTo>
                <a:close/>
                <a:moveTo>
                  <a:pt x="416" y="234"/>
                </a:moveTo>
                <a:cubicBezTo>
                  <a:pt x="416" y="228"/>
                  <a:pt x="411" y="224"/>
                  <a:pt x="405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56" y="352"/>
                  <a:pt x="352" y="356"/>
                  <a:pt x="352" y="362"/>
                </a:cubicBezTo>
                <a:cubicBezTo>
                  <a:pt x="352" y="379"/>
                  <a:pt x="352" y="379"/>
                  <a:pt x="352" y="379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5" y="353"/>
                  <a:pt x="322" y="352"/>
                  <a:pt x="320" y="35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315" y="373"/>
                  <a:pt x="315" y="373"/>
                  <a:pt x="315" y="373"/>
                </a:cubicBezTo>
                <a:cubicBezTo>
                  <a:pt x="355" y="413"/>
                  <a:pt x="355" y="413"/>
                  <a:pt x="355" y="413"/>
                </a:cubicBezTo>
                <a:cubicBezTo>
                  <a:pt x="357" y="415"/>
                  <a:pt x="360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0" y="413"/>
                  <a:pt x="373" y="409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Group 897">
            <a:extLst>
              <a:ext uri="{FF2B5EF4-FFF2-40B4-BE49-F238E27FC236}">
                <a16:creationId xmlns:a16="http://schemas.microsoft.com/office/drawing/2014/main" id="{AF1549DF-2331-EC1D-49BB-80188360E06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653480" y="2232351"/>
            <a:ext cx="739544" cy="686534"/>
            <a:chOff x="3891" y="3455"/>
            <a:chExt cx="340" cy="340"/>
          </a:xfrm>
          <a:solidFill>
            <a:schemeClr val="bg1"/>
          </a:solidFill>
        </p:grpSpPr>
        <p:sp>
          <p:nvSpPr>
            <p:cNvPr id="22" name="Freeform 898">
              <a:extLst>
                <a:ext uri="{FF2B5EF4-FFF2-40B4-BE49-F238E27FC236}">
                  <a16:creationId xmlns:a16="http://schemas.microsoft.com/office/drawing/2014/main" id="{68B7C79F-7374-9206-6A12-6BDE237F29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1" y="345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81 w 512"/>
                <a:gd name="T11" fmla="*/ 381 h 512"/>
                <a:gd name="T12" fmla="*/ 373 w 512"/>
                <a:gd name="T13" fmla="*/ 384 h 512"/>
                <a:gd name="T14" fmla="*/ 365 w 512"/>
                <a:gd name="T15" fmla="*/ 381 h 512"/>
                <a:gd name="T16" fmla="*/ 270 w 512"/>
                <a:gd name="T17" fmla="*/ 285 h 512"/>
                <a:gd name="T18" fmla="*/ 202 w 512"/>
                <a:gd name="T19" fmla="*/ 309 h 512"/>
                <a:gd name="T20" fmla="*/ 96 w 512"/>
                <a:gd name="T21" fmla="*/ 202 h 512"/>
                <a:gd name="T22" fmla="*/ 202 w 512"/>
                <a:gd name="T23" fmla="*/ 96 h 512"/>
                <a:gd name="T24" fmla="*/ 309 w 512"/>
                <a:gd name="T25" fmla="*/ 202 h 512"/>
                <a:gd name="T26" fmla="*/ 285 w 512"/>
                <a:gd name="T27" fmla="*/ 270 h 512"/>
                <a:gd name="T28" fmla="*/ 381 w 512"/>
                <a:gd name="T29" fmla="*/ 365 h 512"/>
                <a:gd name="T30" fmla="*/ 381 w 512"/>
                <a:gd name="T31" fmla="*/ 3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381"/>
                  </a:moveTo>
                  <a:cubicBezTo>
                    <a:pt x="378" y="383"/>
                    <a:pt x="376" y="384"/>
                    <a:pt x="373" y="384"/>
                  </a:cubicBezTo>
                  <a:cubicBezTo>
                    <a:pt x="370" y="384"/>
                    <a:pt x="368" y="383"/>
                    <a:pt x="365" y="381"/>
                  </a:cubicBezTo>
                  <a:cubicBezTo>
                    <a:pt x="270" y="285"/>
                    <a:pt x="270" y="285"/>
                    <a:pt x="270" y="285"/>
                  </a:cubicBezTo>
                  <a:cubicBezTo>
                    <a:pt x="251" y="300"/>
                    <a:pt x="228" y="309"/>
                    <a:pt x="202" y="309"/>
                  </a:cubicBezTo>
                  <a:cubicBezTo>
                    <a:pt x="144" y="309"/>
                    <a:pt x="96" y="261"/>
                    <a:pt x="96" y="202"/>
                  </a:cubicBezTo>
                  <a:cubicBezTo>
                    <a:pt x="96" y="144"/>
                    <a:pt x="144" y="96"/>
                    <a:pt x="202" y="96"/>
                  </a:cubicBezTo>
                  <a:cubicBezTo>
                    <a:pt x="261" y="96"/>
                    <a:pt x="309" y="144"/>
                    <a:pt x="309" y="202"/>
                  </a:cubicBezTo>
                  <a:cubicBezTo>
                    <a:pt x="309" y="228"/>
                    <a:pt x="300" y="251"/>
                    <a:pt x="285" y="270"/>
                  </a:cubicBezTo>
                  <a:cubicBezTo>
                    <a:pt x="381" y="365"/>
                    <a:pt x="381" y="365"/>
                    <a:pt x="381" y="365"/>
                  </a:cubicBezTo>
                  <a:cubicBezTo>
                    <a:pt x="385" y="370"/>
                    <a:pt x="385" y="376"/>
                    <a:pt x="381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val 899">
              <a:extLst>
                <a:ext uri="{FF2B5EF4-FFF2-40B4-BE49-F238E27FC236}">
                  <a16:creationId xmlns:a16="http://schemas.microsoft.com/office/drawing/2014/main" id="{269EF99D-60DC-5EEF-3465-2377D43AC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69" y="3533"/>
              <a:ext cx="113" cy="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1F3EE33-20C5-5704-3B86-DC8DF2616F3E}"/>
              </a:ext>
            </a:extLst>
          </p:cNvPr>
          <p:cNvSpPr txBox="1"/>
          <p:nvPr/>
        </p:nvSpPr>
        <p:spPr>
          <a:xfrm>
            <a:off x="2673574" y="2567230"/>
            <a:ext cx="376479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traffing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der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uidige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palingen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u="sng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 u="sng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sheid</a:t>
            </a:r>
            <a:r>
              <a:rPr lang="en-US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(private, </a:t>
            </a:r>
            <a:r>
              <a:rPr lang="en-US" sz="1400" u="sng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nbare</a:t>
            </a:r>
            <a:r>
              <a:rPr lang="en-US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en-US" sz="1400" u="sng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ndels</a:t>
            </a:r>
            <a:r>
              <a:rPr lang="en-US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) </a:t>
            </a:r>
            <a:r>
              <a:rPr lang="en-US" sz="1400" u="sng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schriften</a:t>
            </a:r>
            <a:r>
              <a:rPr lang="en-US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en-US" sz="1400" u="sng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bruik</a:t>
            </a:r>
            <a:endParaRPr lang="nl-BE" sz="1400" u="sng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vangenisstraf van 1 maand tot 5 jaar en geldboete van 250 EUR tot 500.000 EUR of één van die straffen alleen</a:t>
            </a:r>
          </a:p>
          <a:p>
            <a:endParaRPr lang="nl-BE" sz="1400" u="sng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BE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sheid in getuigschriften of gebru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vangenisstraf van 8 dagen tot 2 jaar en geldboete van 250 EUR tot 500.000 EUR of één van die straffen allee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32AC55-5DC4-12CA-DF88-A061EE38D7F2}"/>
              </a:ext>
            </a:extLst>
          </p:cNvPr>
          <p:cNvSpPr txBox="1"/>
          <p:nvPr/>
        </p:nvSpPr>
        <p:spPr>
          <a:xfrm>
            <a:off x="7480427" y="2528106"/>
            <a:ext cx="4060264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traffing onder toekomstige bepalingen</a:t>
            </a:r>
          </a:p>
          <a:p>
            <a:endParaRPr lang="nl-BE" sz="1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BE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sheid in (private, openbare of handels-) geschriften of gebru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plichte (?) gevangenisstraf van niveau 3                                   – i.e. gevangenisstraf van 3 jaar tot 5 ja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ldboete van 2.000 EUR tot 4.000.000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i="1" dirty="0">
                <a:solidFill>
                  <a:srgbClr val="DA291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icht ook andere straffen van niveau 3 (cf. supra)</a:t>
            </a:r>
            <a:endParaRPr lang="nl-BE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BE" sz="14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sheid in getuigschriften of gebru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plichte (?) gevangenisstraf van niveau 2                                   – i.e. gevangenisstraf van 6 maanden tot 3 ja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ldboete van 2.000 EUR tot 4.000.000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400" i="1" dirty="0">
                <a:solidFill>
                  <a:srgbClr val="DA291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icht ook andere straffen van niveau 2 (cf. supra)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29534324-7FC0-5DD6-E1E1-A85B80191DD3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363448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FISCALE VALSHEID IN GESCHRIFTEN EN GEBRUIK VAN VALSE STUKKEN</a:t>
            </a:r>
          </a:p>
          <a:p>
            <a:pPr>
              <a:spcAft>
                <a:spcPts val="0"/>
              </a:spcAft>
            </a:pP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Wijziging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van de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artikelen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450 WIB92 </a:t>
            </a:r>
            <a:r>
              <a:rPr lang="en-US" sz="2000" dirty="0" err="1">
                <a:solidFill>
                  <a:schemeClr val="bg2">
                    <a:lumMod val="50000"/>
                  </a:schemeClr>
                </a:solidFill>
              </a:rPr>
              <a:t>en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73bis W.BTW</a:t>
            </a:r>
            <a:endParaRPr lang="en-BE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Title 3">
            <a:extLst>
              <a:ext uri="{FF2B5EF4-FFF2-40B4-BE49-F238E27FC236}">
                <a16:creationId xmlns:a16="http://schemas.microsoft.com/office/drawing/2014/main" id="{F5D7E307-E006-95F2-2D81-531CD60C8787}"/>
              </a:ext>
            </a:extLst>
          </p:cNvPr>
          <p:cNvSpPr txBox="1">
            <a:spLocks/>
          </p:cNvSpPr>
          <p:nvPr/>
        </p:nvSpPr>
        <p:spPr bwMode="gray">
          <a:xfrm>
            <a:off x="1260909" y="125520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1273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Text&#10;&#10;Description automatically generated with low confidence">
            <a:extLst>
              <a:ext uri="{FF2B5EF4-FFF2-40B4-BE49-F238E27FC236}">
                <a16:creationId xmlns:a16="http://schemas.microsoft.com/office/drawing/2014/main" id="{8992EE62-5E60-4F19-A437-66F9EFE3476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9" r="14869"/>
          <a:stretch>
            <a:fillRect/>
          </a:stretch>
        </p:blipFill>
        <p:spPr/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6C064CC6-FDA1-430A-8064-BF99F1FF126A}"/>
              </a:ext>
            </a:extLst>
          </p:cNvPr>
          <p:cNvGrpSpPr/>
          <p:nvPr/>
        </p:nvGrpSpPr>
        <p:grpSpPr>
          <a:xfrm>
            <a:off x="7381926" y="1972860"/>
            <a:ext cx="4262283" cy="755993"/>
            <a:chOff x="7322549" y="2397463"/>
            <a:chExt cx="4262283" cy="718015"/>
          </a:xfrm>
        </p:grpSpPr>
        <p:sp>
          <p:nvSpPr>
            <p:cNvPr id="11" name="다이아몬드 3">
              <a:extLst>
                <a:ext uri="{FF2B5EF4-FFF2-40B4-BE49-F238E27FC236}">
                  <a16:creationId xmlns:a16="http://schemas.microsoft.com/office/drawing/2014/main" id="{809EE236-D842-417B-B0B9-D51B0F844AFF}"/>
                </a:ext>
              </a:extLst>
            </p:cNvPr>
            <p:cNvSpPr/>
            <p:nvPr/>
          </p:nvSpPr>
          <p:spPr>
            <a:xfrm>
              <a:off x="7322549" y="2405394"/>
              <a:ext cx="710084" cy="710084"/>
            </a:xfrm>
            <a:prstGeom prst="diamond">
              <a:avLst/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GB" altLang="ko-KR" sz="2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 Pro Cond" panose="02040506050405020303" pitchFamily="18" charset="0"/>
                  <a:ea typeface="맑은 고딕" panose="020B0503020000020004" pitchFamily="34" charset="-127"/>
                </a:rPr>
                <a:t>1</a:t>
              </a:r>
              <a:endParaRPr lang="ko-KR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 Pro Cond" panose="02040506050405020303" pitchFamily="18" charset="0"/>
                <a:ea typeface="맑은 고딕" panose="020B0503020000020004" pitchFamily="34" charset="-12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D06B22A-592F-43B0-B4A6-0958D4F9C469}"/>
                </a:ext>
              </a:extLst>
            </p:cNvPr>
            <p:cNvSpPr txBox="1"/>
            <p:nvPr/>
          </p:nvSpPr>
          <p:spPr>
            <a:xfrm>
              <a:off x="8186876" y="2397463"/>
              <a:ext cx="3397956" cy="4092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0"/>
                </a:spcAft>
              </a:pPr>
              <a:endPara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0"/>
                </a:spcAft>
              </a:pPr>
              <a:r>
                <a:rPr lang="en-US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leiding</a:t>
              </a:r>
              <a:endPara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" name="다이아몬드 3">
            <a:extLst>
              <a:ext uri="{FF2B5EF4-FFF2-40B4-BE49-F238E27FC236}">
                <a16:creationId xmlns:a16="http://schemas.microsoft.com/office/drawing/2014/main" id="{23ADE679-2AD2-4FE4-8E31-52983543D5D1}"/>
              </a:ext>
            </a:extLst>
          </p:cNvPr>
          <p:cNvSpPr/>
          <p:nvPr/>
        </p:nvSpPr>
        <p:spPr>
          <a:xfrm>
            <a:off x="7381926" y="3073958"/>
            <a:ext cx="710084" cy="710084"/>
          </a:xfrm>
          <a:prstGeom prst="diamond">
            <a:avLst/>
          </a:prstGeom>
          <a:gradFill flip="none" rotWithShape="1">
            <a:gsLst>
              <a:gs pos="0">
                <a:srgbClr val="008000">
                  <a:shade val="30000"/>
                  <a:satMod val="115000"/>
                </a:srgbClr>
              </a:gs>
              <a:gs pos="50000">
                <a:srgbClr val="008000">
                  <a:shade val="67500"/>
                  <a:satMod val="115000"/>
                </a:srgbClr>
              </a:gs>
              <a:gs pos="100000">
                <a:srgbClr val="00800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eorgia Pro Cond" panose="02040506050405020303" pitchFamily="18" charset="0"/>
                <a:ea typeface="맑은 고딕" panose="020B0503020000020004" pitchFamily="34" charset="-127"/>
                <a:cs typeface="+mn-cs"/>
              </a:rPr>
              <a:t>2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Georgia Pro Cond" panose="02040506050405020303" pitchFamily="18" charset="0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8" name="다이아몬드 3">
            <a:extLst>
              <a:ext uri="{FF2B5EF4-FFF2-40B4-BE49-F238E27FC236}">
                <a16:creationId xmlns:a16="http://schemas.microsoft.com/office/drawing/2014/main" id="{51DC68F9-ED0D-4C09-961D-E022DFF45F45}"/>
              </a:ext>
            </a:extLst>
          </p:cNvPr>
          <p:cNvSpPr/>
          <p:nvPr/>
        </p:nvSpPr>
        <p:spPr>
          <a:xfrm>
            <a:off x="7381926" y="4129148"/>
            <a:ext cx="710084" cy="710084"/>
          </a:xfrm>
          <a:prstGeom prst="diamond">
            <a:avLst/>
          </a:prstGeom>
          <a:solidFill>
            <a:srgbClr val="006666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eorgia Pro Cond" panose="02040506050405020303" pitchFamily="18" charset="0"/>
                <a:ea typeface="맑은 고딕" panose="020B0503020000020004" pitchFamily="34" charset="-127"/>
                <a:cs typeface="+mn-cs"/>
              </a:rPr>
              <a:t>3</a:t>
            </a:r>
            <a:endParaRPr kumimoji="0" lang="ko-KR" alt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Georgia Pro Cond" panose="02040506050405020303" pitchFamily="18" charset="0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EA7813E-0910-4DA6-BD19-8E4DDF012445}"/>
              </a:ext>
            </a:extLst>
          </p:cNvPr>
          <p:cNvSpPr txBox="1"/>
          <p:nvPr/>
        </p:nvSpPr>
        <p:spPr>
          <a:xfrm>
            <a:off x="1911927" y="2591215"/>
            <a:ext cx="270757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 err="1"/>
              <a:t>Inhoud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body"/>
              <a:ea typeface="Cambria" panose="02040503050406030204" pitchFamily="18" charset="0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44967D-50A0-1F21-509A-F44A67CD950E}"/>
              </a:ext>
            </a:extLst>
          </p:cNvPr>
          <p:cNvSpPr txBox="1"/>
          <p:nvPr/>
        </p:nvSpPr>
        <p:spPr>
          <a:xfrm>
            <a:off x="8153608" y="3073958"/>
            <a:ext cx="33979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endParaRPr lang="en-US" sz="1400" b="1" dirty="0">
              <a:cs typeface="Calibri Light" panose="020F03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b="1" dirty="0">
                <a:cs typeface="Calibri Light" panose="020F0302020204030204" pitchFamily="34" charset="0"/>
              </a:rPr>
              <a:t>De </a:t>
            </a:r>
            <a:r>
              <a:rPr lang="nl-BE" sz="1400" b="1" dirty="0">
                <a:cs typeface="Calibri Light" panose="020F0302020204030204" pitchFamily="34" charset="0"/>
              </a:rPr>
              <a:t>fiscale misdrijven en hun bestraffing</a:t>
            </a:r>
            <a:endParaRPr lang="en-US" sz="1400" dirty="0">
              <a:cs typeface="Calibri Light" panose="020F03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347CFC-6683-FDEE-725E-81DD6616B860}"/>
              </a:ext>
            </a:extLst>
          </p:cNvPr>
          <p:cNvSpPr txBox="1"/>
          <p:nvPr/>
        </p:nvSpPr>
        <p:spPr>
          <a:xfrm>
            <a:off x="8153608" y="3849951"/>
            <a:ext cx="339795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endParaRPr lang="en-US" sz="1400" b="1" dirty="0">
              <a:cs typeface="Calibri Light" panose="020F03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b="1" dirty="0">
              <a:cs typeface="Calibri Light" panose="020F03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b="1" dirty="0">
                <a:cs typeface="Calibri Light" panose="020F0302020204030204" pitchFamily="34" charset="0"/>
              </a:rPr>
              <a:t>De </a:t>
            </a:r>
            <a:r>
              <a:rPr lang="en-US" sz="1400" b="1" dirty="0" err="1">
                <a:cs typeface="Calibri Light" panose="020F0302020204030204" pitchFamily="34" charset="0"/>
              </a:rPr>
              <a:t>relevantie</a:t>
            </a:r>
            <a:r>
              <a:rPr lang="en-US" sz="1400" b="1" dirty="0">
                <a:cs typeface="Calibri Light" panose="020F0302020204030204" pitchFamily="34" charset="0"/>
              </a:rPr>
              <a:t> van de </a:t>
            </a:r>
            <a:r>
              <a:rPr lang="en-US" sz="1400" b="1" dirty="0" err="1">
                <a:cs typeface="Calibri Light" panose="020F0302020204030204" pitchFamily="34" charset="0"/>
              </a:rPr>
              <a:t>wijzigingen</a:t>
            </a:r>
            <a:r>
              <a:rPr lang="en-US" sz="1400" b="1" dirty="0">
                <a:cs typeface="Calibri Light" panose="020F0302020204030204" pitchFamily="34" charset="0"/>
              </a:rPr>
              <a:t> </a:t>
            </a:r>
            <a:r>
              <a:rPr lang="en-US" sz="1400" b="1" dirty="0" err="1">
                <a:cs typeface="Calibri Light" panose="020F0302020204030204" pitchFamily="34" charset="0"/>
              </a:rPr>
              <a:t>voor</a:t>
            </a:r>
            <a:r>
              <a:rPr lang="en-US" sz="1400" b="1" dirty="0">
                <a:cs typeface="Calibri Light" panose="020F0302020204030204" pitchFamily="34" charset="0"/>
              </a:rPr>
              <a:t> </a:t>
            </a:r>
            <a:r>
              <a:rPr lang="en-US" sz="1400" b="1" dirty="0" err="1">
                <a:cs typeface="Calibri Light" panose="020F0302020204030204" pitchFamily="34" charset="0"/>
              </a:rPr>
              <a:t>cijferberoepen</a:t>
            </a:r>
            <a:endParaRPr lang="en-US" sz="1400" dirty="0"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5051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opyright">
            <a:extLst>
              <a:ext uri="{FF2B5EF4-FFF2-40B4-BE49-F238E27FC236}">
                <a16:creationId xmlns:a16="http://schemas.microsoft.com/office/drawing/2014/main" id="{306C7F83-363F-3EAF-ECDC-A2C262DF3F6E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  <p:pic>
        <p:nvPicPr>
          <p:cNvPr id="5" name="Picture 4" descr="A close up of a text&#10;&#10;Description automatically generated">
            <a:extLst>
              <a:ext uri="{FF2B5EF4-FFF2-40B4-BE49-F238E27FC236}">
                <a16:creationId xmlns:a16="http://schemas.microsoft.com/office/drawing/2014/main" id="{A084FE4E-CE29-E034-BAED-30AF71DCBF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4319" y="1859424"/>
            <a:ext cx="4806454" cy="1373272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7" name="Picture 6" descr="A close-up of a text&#10;&#10;Description automatically generated">
            <a:extLst>
              <a:ext uri="{FF2B5EF4-FFF2-40B4-BE49-F238E27FC236}">
                <a16:creationId xmlns:a16="http://schemas.microsoft.com/office/drawing/2014/main" id="{C490E3D7-47D5-FDBC-8169-BB0B3314C4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505" y="3424867"/>
            <a:ext cx="4842268" cy="1581149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8" name="Picture 7" descr="A text on a page&#10;&#10;Description automatically generated">
            <a:extLst>
              <a:ext uri="{FF2B5EF4-FFF2-40B4-BE49-F238E27FC236}">
                <a16:creationId xmlns:a16="http://schemas.microsoft.com/office/drawing/2014/main" id="{DFC26564-3DC2-648F-84F6-C39302E262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865301"/>
            <a:ext cx="5116325" cy="3140715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3911006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39775" y="410017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TOEPASSINGSGEVALLEN </a:t>
            </a:r>
            <a:endParaRPr lang="en-BE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001D2130-0677-8E43-2D66-4173342EFB62}"/>
              </a:ext>
            </a:extLst>
          </p:cNvPr>
          <p:cNvSpPr txBox="1">
            <a:spLocks/>
          </p:cNvSpPr>
          <p:nvPr/>
        </p:nvSpPr>
        <p:spPr>
          <a:xfrm>
            <a:off x="1068404" y="1453415"/>
            <a:ext cx="11065845" cy="4720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1600" u="sng" dirty="0"/>
              <a:t>Valsheid in (private, openbare of handels-) geschriften of gebruik (artikel 450, eerste lid WIB92)</a:t>
            </a:r>
          </a:p>
          <a:p>
            <a:endParaRPr lang="nl-BE" sz="1600" u="sng" dirty="0"/>
          </a:p>
          <a:p>
            <a:pPr marL="342900" indent="-342900">
              <a:spcBef>
                <a:spcPts val="600"/>
              </a:spcBef>
              <a:buSzPct val="100000"/>
              <a:buAutoNum type="alphaUcPeriod"/>
            </a:pPr>
            <a:r>
              <a:rPr lang="nl-BE" sz="1600" b="1" dirty="0">
                <a:solidFill>
                  <a:srgbClr val="313131"/>
                </a:solidFill>
              </a:rPr>
              <a:t>Toepassingsgevallen in de administratieve commentaren </a:t>
            </a:r>
            <a:r>
              <a:rPr lang="nl-BE" sz="1600" dirty="0">
                <a:solidFill>
                  <a:srgbClr val="313131"/>
                </a:solidFill>
              </a:rPr>
              <a:t>(Com.IB nrs. 450/5, 450/6, 450/12, 450/13)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valse handtekeningen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namaking of vervalsing van geschriften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overeenkomsten valselijk opmaken of achteraf in akten invoegen  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schrapping, overschrijving, achteraf inlassen van een vals beding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vervalsing van de vermelding in het geschrift 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balansen en rekeningen als bedoeld in artikel 207 SWHV 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valse facturen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antidatering akte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 - fictieve leningsakte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valse verklaring in antwoord op vraag om inlichtingen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 valse inschrijving in kasboek/inventarisblad</a:t>
            </a:r>
          </a:p>
          <a:p>
            <a:pPr>
              <a:spcAft>
                <a:spcPts val="0"/>
              </a:spcAft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niet vermelden van bepaalde ontvangsten in officiële dagboeken van ontvangsten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0CCC77E-CA6C-B46F-56DC-DC15CFFC4D5A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9648823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478C923A-220B-8AD6-F7F4-87599E4C6CEE}"/>
              </a:ext>
            </a:extLst>
          </p:cNvPr>
          <p:cNvSpPr txBox="1">
            <a:spLocks/>
          </p:cNvSpPr>
          <p:nvPr/>
        </p:nvSpPr>
        <p:spPr>
          <a:xfrm>
            <a:off x="1068405" y="1453415"/>
            <a:ext cx="10056796" cy="4720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. Toepassingsgevallen in de rechtspraak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Valse brief (meegedeeld aan de fiscus) ter attestering dat (buitenlandse) rekeningen niet toebehoren aan de belastingplichtige, terwijl dit wel het geval wa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t 16 januari 2019, nr. 2018/NT/528, 2014/PGG/1063, 2018/VJ11/528</a:t>
            </a:r>
            <a:endParaRPr lang="nl-BE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nl-B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Leningsovereenkomst afgesloten zonder de werkelijke terbeschikkingstelling van gelden met als enig doel “</a:t>
            </a:r>
            <a:r>
              <a:rPr kumimoji="0" lang="nl-BE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fiscale administratie te bedriegen om haar te overtuigen van het bestaan en de waarachtigheid van de gesimuleerde overeenkomst”.</a:t>
            </a: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twerpen 28 mei 2024, nr. 2019/AR/1027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nl-B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Facturen die het werkelijk overeengekomen bedrag overschrijden zijn vals (overfacturatie). Dit alles met als doel “</a:t>
            </a:r>
            <a:r>
              <a:rPr kumimoji="0" lang="nl-BE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…) deze bedragen in mindering te brengen van de belastbare omzet.</a:t>
            </a: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”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twerpen 23 mei 2023, nr. 2021/AR/1984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DB2EEB5D-B5D3-471C-C1EB-EFD8E95ADE34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421280380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ENKELE FISCALE MISDRIJVEN EN HUN BESTRAFF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50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TOEPASSINGSGEVALLEN </a:t>
            </a:r>
            <a:endParaRPr lang="en-BE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BBDD2C76-E4E5-23F9-F7FB-5C7138C355C0}"/>
              </a:ext>
            </a:extLst>
          </p:cNvPr>
          <p:cNvSpPr txBox="1">
            <a:spLocks/>
          </p:cNvSpPr>
          <p:nvPr/>
        </p:nvSpPr>
        <p:spPr>
          <a:xfrm>
            <a:off x="1068404" y="1453415"/>
            <a:ext cx="10347157" cy="4720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1600" u="sng" dirty="0"/>
              <a:t>Valsheid in getuigschriften of gebruik (artikel 450, tweede lid WIB92)</a:t>
            </a:r>
          </a:p>
          <a:p>
            <a:pPr>
              <a:spcBef>
                <a:spcPts val="600"/>
              </a:spcBef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 Getuigschriften van welke aard ook die de openbare of private belangen kunnen schaden (Com.</a:t>
            </a:r>
            <a:r>
              <a:rPr lang="nl-BE" sz="1600" i="1" dirty="0">
                <a:solidFill>
                  <a:srgbClr val="313131"/>
                </a:solidFill>
              </a:rPr>
              <a:t>IB </a:t>
            </a:r>
            <a:r>
              <a:rPr lang="nl-BE" sz="1600" dirty="0">
                <a:solidFill>
                  <a:srgbClr val="313131"/>
                </a:solidFill>
              </a:rPr>
              <a:t>nr. 450/22)</a:t>
            </a:r>
          </a:p>
          <a:p>
            <a:pPr>
              <a:spcBef>
                <a:spcPts val="600"/>
              </a:spcBef>
              <a:buSzPct val="100000"/>
            </a:pPr>
            <a:r>
              <a:rPr lang="nl-BE" sz="1600" dirty="0">
                <a:solidFill>
                  <a:srgbClr val="313131"/>
                </a:solidFill>
              </a:rPr>
              <a:t>- “</a:t>
            </a:r>
            <a:r>
              <a:rPr lang="nl-BE" sz="1600" i="1" dirty="0">
                <a:solidFill>
                  <a:srgbClr val="313131"/>
                </a:solidFill>
              </a:rPr>
              <a:t>De getuigschriften met betrekking tot feiten waarvan de vaststelling door de wet, een reglement of een overeenkomst vereist is voor het verkrijgen van een recht of een voordeel.</a:t>
            </a:r>
            <a:r>
              <a:rPr lang="nl-BE" sz="1600" dirty="0">
                <a:solidFill>
                  <a:srgbClr val="313131"/>
                </a:solidFill>
              </a:rPr>
              <a:t>” - Voordeel waarin de belastingwet voorziet (Com.</a:t>
            </a:r>
            <a:r>
              <a:rPr lang="nl-BE" sz="1600" i="1" dirty="0">
                <a:solidFill>
                  <a:srgbClr val="313131"/>
                </a:solidFill>
              </a:rPr>
              <a:t>IB </a:t>
            </a:r>
            <a:r>
              <a:rPr lang="nl-BE" sz="1600" dirty="0">
                <a:solidFill>
                  <a:srgbClr val="313131"/>
                </a:solidFill>
              </a:rPr>
              <a:t>nr. 450/22).</a:t>
            </a:r>
            <a:endParaRPr kumimoji="0" lang="nl-B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nl-BE" sz="1600" b="1" dirty="0">
                <a:solidFill>
                  <a:srgbClr val="313131"/>
                </a:solidFill>
              </a:rPr>
              <a:t>Toepassingsgevallen in de rechtspraak</a:t>
            </a:r>
          </a:p>
          <a:p>
            <a:pPr>
              <a:spcBef>
                <a:spcPts val="600"/>
              </a:spcBef>
              <a:buSzPct val="100000"/>
            </a:pPr>
            <a:r>
              <a:rPr lang="nl-BE" sz="1600" dirty="0"/>
              <a:t>- Fictief proces-verbaal van algemene vergadering betreffende de afsluiting van de jaarrekening (Rb. Brussel 13 maart 2008, </a:t>
            </a:r>
            <a:r>
              <a:rPr lang="nl-BE" sz="16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onkey.be</a:t>
            </a:r>
            <a:r>
              <a:rPr lang="nl-BE" sz="1600" dirty="0"/>
              <a:t>)</a:t>
            </a:r>
            <a:endParaRPr lang="nl-BE" sz="1600" dirty="0">
              <a:solidFill>
                <a:schemeClr val="accent3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F4741-5601-1708-D4BA-C3AF703600EC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279913425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DE WET VAN 16 MEI 2024 HOUDENDE DE AANPASSING VAN HET BIJZONDER FISCAAL STRAFRECHT AAN HET NIEUW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83906" y="714663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1800" dirty="0">
                <a:solidFill>
                  <a:schemeClr val="bg2">
                    <a:lumMod val="50000"/>
                  </a:schemeClr>
                </a:solidFill>
              </a:rPr>
              <a:t>DE DOORWERKING VAN HET NIEUWE STRAFWETBOEK NAAR HET BIJZONDER FISCAAL STRAFRECH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3D0D294B-8375-32D8-B1BF-2DEA9B31C875}"/>
              </a:ext>
            </a:extLst>
          </p:cNvPr>
          <p:cNvSpPr txBox="1">
            <a:spLocks/>
          </p:cNvSpPr>
          <p:nvPr/>
        </p:nvSpPr>
        <p:spPr>
          <a:xfrm>
            <a:off x="1068404" y="1453415"/>
            <a:ext cx="11065845" cy="4720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ym typeface="Wingdings" panose="05000000000000000000" pitchFamily="2" charset="2"/>
              </a:rPr>
              <a:t>Quid idee van </a:t>
            </a:r>
            <a:r>
              <a:rPr lang="en-US" sz="1600" b="1" dirty="0" err="1">
                <a:sym typeface="Wingdings" panose="05000000000000000000" pitchFamily="2" charset="2"/>
              </a:rPr>
              <a:t>gevangenisstraf</a:t>
            </a:r>
            <a:r>
              <a:rPr lang="en-US" sz="1600" b="1" dirty="0">
                <a:sym typeface="Wingdings" panose="05000000000000000000" pitchFamily="2" charset="2"/>
              </a:rPr>
              <a:t> </a:t>
            </a:r>
            <a:r>
              <a:rPr lang="en-US" sz="1600" b="1" dirty="0" err="1">
                <a:sym typeface="Wingdings" panose="05000000000000000000" pitchFamily="2" charset="2"/>
              </a:rPr>
              <a:t>als</a:t>
            </a:r>
            <a:r>
              <a:rPr lang="en-US" sz="1600" b="1" dirty="0">
                <a:sym typeface="Wingdings" panose="05000000000000000000" pitchFamily="2" charset="2"/>
              </a:rPr>
              <a:t> </a:t>
            </a:r>
            <a:r>
              <a:rPr lang="en-US" sz="1600" b="1" i="1" dirty="0" err="1">
                <a:sym typeface="Wingdings" panose="05000000000000000000" pitchFamily="2" charset="2"/>
              </a:rPr>
              <a:t>ultimum</a:t>
            </a:r>
            <a:r>
              <a:rPr lang="en-US" sz="1600" b="1" i="1" dirty="0">
                <a:sym typeface="Wingdings" panose="05000000000000000000" pitchFamily="2" charset="2"/>
              </a:rPr>
              <a:t> </a:t>
            </a:r>
            <a:r>
              <a:rPr lang="en-US" sz="1600" b="1" i="1" dirty="0" err="1">
                <a:sym typeface="Wingdings" panose="05000000000000000000" pitchFamily="2" charset="2"/>
              </a:rPr>
              <a:t>remedium</a:t>
            </a:r>
            <a:r>
              <a:rPr lang="en-US" sz="1600" b="1" i="1" dirty="0">
                <a:sym typeface="Wingdings" panose="05000000000000000000" pitchFamily="2" charset="2"/>
              </a:rPr>
              <a:t> </a:t>
            </a:r>
            <a:r>
              <a:rPr lang="en-US" sz="1600" dirty="0">
                <a:sym typeface="Wingdings" panose="05000000000000000000" pitchFamily="2" charset="2"/>
              </a:rPr>
              <a:t>(</a:t>
            </a:r>
            <a:r>
              <a:rPr lang="en-US" sz="1600" dirty="0" err="1">
                <a:sym typeface="Wingdings" panose="05000000000000000000" pitchFamily="2" charset="2"/>
              </a:rPr>
              <a:t>artikel</a:t>
            </a:r>
            <a:r>
              <a:rPr lang="en-US" sz="1600" dirty="0">
                <a:sym typeface="Wingdings" panose="05000000000000000000" pitchFamily="2" charset="2"/>
              </a:rPr>
              <a:t> 27, lid 3 NSW)? </a:t>
            </a:r>
          </a:p>
          <a:p>
            <a:r>
              <a:rPr lang="en-US" sz="1600" dirty="0">
                <a:sym typeface="Wingdings" panose="05000000000000000000" pitchFamily="2" charset="2"/>
              </a:rPr>
              <a:t>	</a:t>
            </a:r>
            <a:r>
              <a:rPr lang="nl-BE" sz="1600" dirty="0">
                <a:sym typeface="Wingdings" panose="05000000000000000000" pitchFamily="2" charset="2"/>
              </a:rPr>
              <a:t> Discrepantie tussen letterlijke tekst van de wet (IN DE REGEL verplichte toepassing gevangenisstraf en geldboete als 	bijkomende straf) en interpretatie door Minister van Financiën (</a:t>
            </a:r>
            <a:r>
              <a:rPr lang="nl-B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hter steeds vrij om te kiezen welke straf hij oplegt, d.w.z. 	een gevangenisstraf, eventueel met uitstel of opschorting, ofwel een financiële sanctie (Parl. St. Kamer 2023-24, nr. 3927/2, 	14))</a:t>
            </a:r>
            <a:endParaRPr lang="nl-BE" sz="1600" dirty="0">
              <a:sym typeface="Wingdings" panose="05000000000000000000" pitchFamily="2" charset="2"/>
            </a:endParaRPr>
          </a:p>
          <a:p>
            <a:pPr lvl="3" indent="0">
              <a:buNone/>
            </a:pPr>
            <a:endParaRPr lang="nl-BE" sz="16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BE" sz="1600" dirty="0">
                <a:sym typeface="Wingdings" panose="05000000000000000000" pitchFamily="2" charset="2"/>
              </a:rPr>
              <a:t>In het algemeen zal fiscale strafrechter</a:t>
            </a:r>
            <a:r>
              <a:rPr lang="nl-BE" sz="1600" b="1" dirty="0">
                <a:sym typeface="Wingdings" panose="05000000000000000000" pitchFamily="2" charset="2"/>
              </a:rPr>
              <a:t> strenger </a:t>
            </a:r>
            <a:r>
              <a:rPr lang="nl-BE" sz="1600" dirty="0">
                <a:sym typeface="Wingdings" panose="05000000000000000000" pitchFamily="2" charset="2"/>
              </a:rPr>
              <a:t>kunnen optreden dan in het huidig bijzonder fiscaal strafrecht</a:t>
            </a:r>
          </a:p>
          <a:p>
            <a:pPr marL="400050" lvl="2" indent="-171450"/>
            <a:r>
              <a:rPr lang="nl-BE" sz="1600" dirty="0">
                <a:sym typeface="Wingdings" panose="05000000000000000000" pitchFamily="2" charset="2"/>
              </a:rPr>
              <a:t>Langere gevangenisstraffen, die bovendien verplicht zijn uit te spreken door rechter (?)</a:t>
            </a:r>
          </a:p>
          <a:p>
            <a:pPr marL="400050" lvl="2" indent="-171450"/>
            <a:r>
              <a:rPr lang="nl-BE" sz="1600" dirty="0">
                <a:sym typeface="Wingdings" panose="05000000000000000000" pitchFamily="2" charset="2"/>
              </a:rPr>
              <a:t>Qua geldboeten in feite </a:t>
            </a:r>
            <a:r>
              <a:rPr lang="nl-BE" sz="1600" i="1" dirty="0">
                <a:sym typeface="Wingdings" panose="05000000000000000000" pitchFamily="2" charset="2"/>
              </a:rPr>
              <a:t>status quo </a:t>
            </a:r>
            <a:r>
              <a:rPr lang="nl-BE" sz="1600" dirty="0">
                <a:sym typeface="Wingdings" panose="05000000000000000000" pitchFamily="2" charset="2"/>
              </a:rPr>
              <a:t>(rekening houdend met huidige opdeciemen (geldboete*8)), maar voortaan IN DE REGEL wel de aard van bijkomende straf (?)</a:t>
            </a:r>
            <a:endParaRPr lang="nl-BE" sz="1600" i="1" dirty="0">
              <a:sym typeface="Wingdings" panose="05000000000000000000" pitchFamily="2" charset="2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E56A754-20EB-4C40-6A19-8428F8C391B4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3105244141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5C4AFF13-7ABE-9B03-48D0-E799193BDA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2" b="28678"/>
          <a:stretch/>
        </p:blipFill>
        <p:spPr>
          <a:xfrm>
            <a:off x="3175000" y="-14917"/>
            <a:ext cx="9017000" cy="4885368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E16C95BB-AA08-452A-3CAD-AE8E1052F4D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3255" b="28764"/>
          <a:stretch/>
        </p:blipFill>
        <p:spPr>
          <a:xfrm>
            <a:off x="6224667" y="1987550"/>
            <a:ext cx="5967334" cy="4885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215" y="3553934"/>
            <a:ext cx="9706694" cy="857250"/>
          </a:xfrm>
        </p:spPr>
        <p:txBody>
          <a:bodyPr anchor="ctr">
            <a:normAutofit fontScale="90000"/>
          </a:bodyPr>
          <a:lstStyle/>
          <a:p>
            <a:r>
              <a:rPr lang="nl-BE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De relevantie van de wijzigingen voor de cijferberoepen </a:t>
            </a:r>
            <a:endParaRPr 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60801F02-B16E-E666-4D70-BB6B8CAF638C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</p:spTree>
    <p:extLst>
      <p:ext uri="{BB962C8B-B14F-4D97-AF65-F5344CB8AC3E}">
        <p14:creationId xmlns:p14="http://schemas.microsoft.com/office/powerpoint/2010/main" val="100302567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DE STRAFBARE DEELNEM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50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REGELING IN HET HUIDIGE STRAFWETBOEK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E92E8661-4386-32AF-32BE-601485E609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134114"/>
              </p:ext>
            </p:extLst>
          </p:nvPr>
        </p:nvGraphicFramePr>
        <p:xfrm>
          <a:off x="1392374" y="1387120"/>
          <a:ext cx="9994392" cy="514876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694575">
                  <a:extLst>
                    <a:ext uri="{9D8B030D-6E8A-4147-A177-3AD203B41FA5}">
                      <a16:colId xmlns:a16="http://schemas.microsoft.com/office/drawing/2014/main" val="458228167"/>
                    </a:ext>
                  </a:extLst>
                </a:gridCol>
                <a:gridCol w="3722770">
                  <a:extLst>
                    <a:ext uri="{9D8B030D-6E8A-4147-A177-3AD203B41FA5}">
                      <a16:colId xmlns:a16="http://schemas.microsoft.com/office/drawing/2014/main" val="1595593447"/>
                    </a:ext>
                  </a:extLst>
                </a:gridCol>
                <a:gridCol w="4577047">
                  <a:extLst>
                    <a:ext uri="{9D8B030D-6E8A-4147-A177-3AD203B41FA5}">
                      <a16:colId xmlns:a16="http://schemas.microsoft.com/office/drawing/2014/main" val="74548108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endParaRPr lang="en-B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Mededaderschap</a:t>
                      </a:r>
                      <a:r>
                        <a:rPr lang="en-US" sz="1400" dirty="0"/>
                        <a:t>  (art. 66 </a:t>
                      </a:r>
                      <a:r>
                        <a:rPr lang="en-US" sz="1400" dirty="0" err="1"/>
                        <a:t>Sw</a:t>
                      </a:r>
                      <a:r>
                        <a:rPr lang="en-US" sz="1400" dirty="0"/>
                        <a:t>)</a:t>
                      </a:r>
                      <a:endParaRPr lang="en-B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Medeplichtigheid</a:t>
                      </a:r>
                      <a:r>
                        <a:rPr lang="en-US" sz="1400" dirty="0"/>
                        <a:t> (art. 67 </a:t>
                      </a:r>
                      <a:r>
                        <a:rPr lang="en-US" sz="1400" dirty="0" err="1"/>
                        <a:t>Sw</a:t>
                      </a:r>
                      <a:r>
                        <a:rPr lang="en-US" sz="1400" dirty="0"/>
                        <a:t>)</a:t>
                      </a:r>
                      <a:endParaRPr lang="en-B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0641409"/>
                  </a:ext>
                </a:extLst>
              </a:tr>
              <a:tr h="902160"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r>
                        <a:rPr lang="en-US" sz="1400" b="1" dirty="0" err="1"/>
                        <a:t>Materieel</a:t>
                      </a:r>
                      <a:r>
                        <a:rPr lang="en-US" sz="1400" b="1" dirty="0"/>
                        <a:t> element</a:t>
                      </a:r>
                      <a:endParaRPr lang="en-B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Rechtstreeks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edewerki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a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uitvoering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Noodzakelijk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hulp</a:t>
                      </a:r>
                      <a:r>
                        <a:rPr lang="en-US" sz="1400" dirty="0"/>
                        <a:t> </a:t>
                      </a:r>
                      <a:endParaRPr lang="en-B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Nuttig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edehulp</a:t>
                      </a:r>
                      <a:r>
                        <a:rPr lang="en-US" sz="1400" dirty="0"/>
                        <a:t> </a:t>
                      </a:r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Onderrichtingen</a:t>
                      </a:r>
                      <a:r>
                        <a:rPr lang="en-US" sz="1400" dirty="0"/>
                        <a:t> </a:t>
                      </a:r>
                      <a:endParaRPr lang="en-B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540588"/>
                  </a:ext>
                </a:extLst>
              </a:tr>
              <a:tr h="1726992"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400" b="1" dirty="0" err="1"/>
                        <a:t>Moreel</a:t>
                      </a:r>
                      <a:r>
                        <a:rPr lang="en-US" sz="1400" b="1" dirty="0"/>
                        <a:t> element</a:t>
                      </a:r>
                      <a:endParaRPr lang="en-BE" sz="14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endParaRPr lang="en-US" sz="1400" dirty="0"/>
                    </a:p>
                    <a:p>
                      <a:pPr algn="l"/>
                      <a:endParaRPr lang="en-US" sz="1400" dirty="0"/>
                    </a:p>
                    <a:p>
                      <a:pPr algn="l"/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Deelnemingsopzet</a:t>
                      </a:r>
                      <a:r>
                        <a:rPr lang="en-US" sz="1400" dirty="0"/>
                        <a:t>: </a:t>
                      </a:r>
                      <a:r>
                        <a:rPr lang="en-US" sz="1400" dirty="0" err="1"/>
                        <a:t>wetens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willens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edewerki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erlen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aan</a:t>
                      </a:r>
                      <a:r>
                        <a:rPr lang="en-US" sz="1400" dirty="0"/>
                        <a:t> het </a:t>
                      </a:r>
                      <a:r>
                        <a:rPr lang="en-US" sz="1400" dirty="0" err="1"/>
                        <a:t>plegen</a:t>
                      </a:r>
                      <a:r>
                        <a:rPr lang="en-US" sz="1400" dirty="0"/>
                        <a:t> van </a:t>
                      </a:r>
                      <a:r>
                        <a:rPr lang="en-US" sz="1400" dirty="0" err="1"/>
                        <a:t>e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sdrijf</a:t>
                      </a:r>
                      <a:endParaRPr lang="en-US" sz="1400" dirty="0"/>
                    </a:p>
                    <a:p>
                      <a:pPr algn="l"/>
                      <a:endParaRPr lang="en-US" sz="1400" dirty="0"/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Moreel</a:t>
                      </a:r>
                      <a:r>
                        <a:rPr lang="en-US" sz="1400" dirty="0"/>
                        <a:t> element van </a:t>
                      </a:r>
                      <a:r>
                        <a:rPr lang="en-US" sz="1400" dirty="0" err="1"/>
                        <a:t>hoofdmisdrijf</a:t>
                      </a:r>
                      <a:r>
                        <a:rPr lang="en-US" sz="1400" dirty="0"/>
                        <a:t> (</a:t>
                      </a:r>
                      <a:r>
                        <a:rPr lang="en-US" sz="1400" dirty="0" err="1"/>
                        <a:t>bv</a:t>
                      </a:r>
                      <a:r>
                        <a:rPr lang="en-US" sz="1400" dirty="0"/>
                        <a:t>. </a:t>
                      </a:r>
                      <a:r>
                        <a:rPr lang="en-US" sz="1400" dirty="0" err="1"/>
                        <a:t>bijzonde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pzet</a:t>
                      </a:r>
                      <a:r>
                        <a:rPr lang="en-US" sz="1400" dirty="0"/>
                        <a:t>) is </a:t>
                      </a:r>
                      <a:r>
                        <a:rPr lang="en-US" sz="1400" dirty="0" err="1"/>
                        <a:t>nie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ereis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oo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eelnemer</a:t>
                      </a:r>
                      <a:endParaRPr lang="en-US" sz="1400" dirty="0"/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400" dirty="0"/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Eventuee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eelnemingsopze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an</a:t>
                      </a:r>
                      <a:r>
                        <a:rPr lang="en-US" sz="1400" dirty="0"/>
                        <a:t>: </a:t>
                      </a:r>
                      <a:r>
                        <a:rPr lang="en-US" sz="1400" dirty="0" err="1"/>
                        <a:t>mogelijkheid</a:t>
                      </a:r>
                      <a:r>
                        <a:rPr lang="en-US" sz="1400" dirty="0"/>
                        <a:t> van </a:t>
                      </a:r>
                      <a:r>
                        <a:rPr lang="en-US" sz="1400" dirty="0" err="1"/>
                        <a:t>bijdrag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a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sdrijf</a:t>
                      </a:r>
                      <a:r>
                        <a:rPr lang="en-US" sz="1400" dirty="0"/>
                        <a:t> ‘</a:t>
                      </a:r>
                      <a:r>
                        <a:rPr lang="en-US" sz="1400" i="0" dirty="0"/>
                        <a:t>er op de </a:t>
                      </a:r>
                      <a:r>
                        <a:rPr lang="en-US" sz="1400" i="0" dirty="0" err="1"/>
                        <a:t>koop</a:t>
                      </a:r>
                      <a:r>
                        <a:rPr lang="en-US" sz="1400" i="0" dirty="0"/>
                        <a:t> toe </a:t>
                      </a:r>
                      <a:r>
                        <a:rPr lang="en-US" sz="1400" i="0" dirty="0" err="1"/>
                        <a:t>bij</a:t>
                      </a:r>
                      <a:r>
                        <a:rPr lang="en-US" sz="1400" i="0" dirty="0"/>
                        <a:t> </a:t>
                      </a:r>
                      <a:r>
                        <a:rPr lang="en-US" sz="1400" i="0" dirty="0" err="1"/>
                        <a:t>nemen</a:t>
                      </a:r>
                      <a:r>
                        <a:rPr lang="en-US" sz="1400" i="0" dirty="0"/>
                        <a:t>’</a:t>
                      </a:r>
                    </a:p>
                    <a:p>
                      <a:pPr marL="371475" lvl="4" indent="0" algn="just">
                        <a:spcBef>
                          <a:spcPts val="300"/>
                        </a:spcBef>
                        <a:buNone/>
                        <a:defRPr/>
                      </a:pPr>
                      <a:endParaRPr lang="nl-NL" sz="1400" b="0" dirty="0">
                        <a:solidFill>
                          <a:prstClr val="black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endParaRPr lang="en-US" sz="1400" dirty="0"/>
                    </a:p>
                    <a:p>
                      <a:pPr algn="ctr"/>
                      <a:endParaRPr lang="en-B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552755"/>
                  </a:ext>
                </a:extLst>
              </a:tr>
              <a:tr h="1674150">
                <a:tc>
                  <a:txBody>
                    <a:bodyPr/>
                    <a:lstStyle/>
                    <a:p>
                      <a:endParaRPr lang="en-US" sz="1400" b="1" dirty="0"/>
                    </a:p>
                    <a:p>
                      <a:endParaRPr lang="en-US" sz="1400" b="1" dirty="0"/>
                    </a:p>
                    <a:p>
                      <a:endParaRPr lang="en-US" sz="1400" b="1" dirty="0"/>
                    </a:p>
                    <a:p>
                      <a:r>
                        <a:rPr lang="en-US" sz="1400" b="1" dirty="0" err="1"/>
                        <a:t>Bestraffing</a:t>
                      </a:r>
                      <a:endParaRPr lang="en-B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Gestraf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oals</a:t>
                      </a:r>
                      <a:r>
                        <a:rPr lang="en-US" sz="1400" dirty="0"/>
                        <a:t> de </a:t>
                      </a:r>
                      <a:r>
                        <a:rPr lang="en-US" sz="1400" dirty="0" err="1"/>
                        <a:t>dader</a:t>
                      </a:r>
                      <a:r>
                        <a:rPr lang="en-US" sz="1400" dirty="0"/>
                        <a:t> van het </a:t>
                      </a:r>
                      <a:r>
                        <a:rPr lang="en-US" sz="1400" dirty="0" err="1"/>
                        <a:t>hoofdmisdrijf</a:t>
                      </a:r>
                      <a:endParaRPr lang="en-B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I.g.v</a:t>
                      </a:r>
                      <a:r>
                        <a:rPr lang="en-US" sz="1400" dirty="0"/>
                        <a:t>. </a:t>
                      </a:r>
                      <a:r>
                        <a:rPr lang="en-US" sz="1400" dirty="0" err="1"/>
                        <a:t>misdaad</a:t>
                      </a:r>
                      <a:r>
                        <a:rPr lang="en-US" sz="1400" dirty="0"/>
                        <a:t>: </a:t>
                      </a:r>
                      <a:r>
                        <a:rPr lang="en-US" sz="1400" dirty="0" err="1"/>
                        <a:t>gestraft</a:t>
                      </a:r>
                      <a:r>
                        <a:rPr lang="en-US" sz="1400" dirty="0"/>
                        <a:t> met de </a:t>
                      </a:r>
                      <a:r>
                        <a:rPr lang="en-US" sz="1400" dirty="0" err="1"/>
                        <a:t>straf</a:t>
                      </a:r>
                      <a:r>
                        <a:rPr lang="en-US" sz="1400" dirty="0"/>
                        <a:t> die </a:t>
                      </a:r>
                      <a:r>
                        <a:rPr lang="en-US" sz="1400" dirty="0" err="1"/>
                        <a:t>onmiddellijk</a:t>
                      </a:r>
                      <a:r>
                        <a:rPr lang="en-US" sz="1400" dirty="0"/>
                        <a:t> lager is dan die van de </a:t>
                      </a:r>
                      <a:r>
                        <a:rPr lang="en-US" sz="1400" dirty="0" err="1"/>
                        <a:t>dader</a:t>
                      </a:r>
                      <a:r>
                        <a:rPr lang="en-US" sz="1400" dirty="0"/>
                        <a:t> (art. 69, lid 1 jo. art. 80 </a:t>
                      </a:r>
                      <a:r>
                        <a:rPr lang="en-US" sz="1400" dirty="0" err="1"/>
                        <a:t>en</a:t>
                      </a:r>
                      <a:r>
                        <a:rPr lang="en-US" sz="1400" dirty="0"/>
                        <a:t> 81 Sw.)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-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I.g.v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wanbedrijf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: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gestraft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met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straf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die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niet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hoger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is dan 2/3de van de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straf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van de </a:t>
                      </a:r>
                      <a:r>
                        <a:rPr lang="en-US" sz="1400" dirty="0" err="1">
                          <a:solidFill>
                            <a:schemeClr val="accent3"/>
                          </a:solidFill>
                        </a:rPr>
                        <a:t>dader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 (art. 69, lid 3 Sw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9093131"/>
                  </a:ext>
                </a:extLst>
              </a:tr>
            </a:tbl>
          </a:graphicData>
        </a:graphic>
      </p:graphicFrame>
      <p:sp>
        <p:nvSpPr>
          <p:cNvPr id="6" name="Copyright">
            <a:extLst>
              <a:ext uri="{FF2B5EF4-FFF2-40B4-BE49-F238E27FC236}">
                <a16:creationId xmlns:a16="http://schemas.microsoft.com/office/drawing/2014/main" id="{01B31405-AAD8-31CF-8E40-723DE531AEE2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AF8FA3-613F-761D-7B14-D19BC42AB86C}"/>
              </a:ext>
            </a:extLst>
          </p:cNvPr>
          <p:cNvCxnSpPr>
            <a:cxnSpLocks/>
          </p:cNvCxnSpPr>
          <p:nvPr/>
        </p:nvCxnSpPr>
        <p:spPr>
          <a:xfrm>
            <a:off x="3091994" y="1387120"/>
            <a:ext cx="0" cy="48716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858505-5931-5555-CD8C-1A7D8D08B077}"/>
              </a:ext>
            </a:extLst>
          </p:cNvPr>
          <p:cNvCxnSpPr>
            <a:cxnSpLocks/>
          </p:cNvCxnSpPr>
          <p:nvPr/>
        </p:nvCxnSpPr>
        <p:spPr>
          <a:xfrm>
            <a:off x="6751163" y="1387120"/>
            <a:ext cx="0" cy="121467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223F24-C680-129A-6C64-DC1F0BB710F9}"/>
              </a:ext>
            </a:extLst>
          </p:cNvPr>
          <p:cNvCxnSpPr>
            <a:cxnSpLocks/>
          </p:cNvCxnSpPr>
          <p:nvPr/>
        </p:nvCxnSpPr>
        <p:spPr>
          <a:xfrm>
            <a:off x="6751163" y="4328474"/>
            <a:ext cx="0" cy="193031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12738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41659" y="134755"/>
            <a:ext cx="10703293" cy="640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/>
              <a:t>DE STRAFBARE DEELNEMIN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50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REGELING IN HET NIEUWE STRAFWETBOEK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19B7E8-A058-0D90-D26C-F870BD2FDD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4281" y="1506957"/>
            <a:ext cx="10635917" cy="4671522"/>
          </a:xfrm>
        </p:spPr>
        <p:txBody>
          <a:bodyPr/>
          <a:lstStyle/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dirty="0">
                <a:solidFill>
                  <a:prstClr val="black"/>
                </a:solidFill>
                <a:sym typeface="Wingdings" panose="05000000000000000000" pitchFamily="2" charset="2"/>
              </a:rPr>
              <a:t>Strafbare deelneming (art. 19 NSW): onderscheid tussen mededader en medeplichtige verdwijnt</a:t>
            </a:r>
            <a:endParaRPr lang="nl-NL" sz="1400" b="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2" algn="just"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nl-NL" sz="1400" b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lang="nl-NL" sz="1400" b="1" dirty="0">
                <a:solidFill>
                  <a:prstClr val="black"/>
                </a:solidFill>
                <a:sym typeface="Wingdings" panose="05000000000000000000" pitchFamily="2" charset="2"/>
              </a:rPr>
              <a:t>Moreel element </a:t>
            </a:r>
            <a:r>
              <a:rPr lang="nl-NL" sz="1400" b="0" dirty="0">
                <a:solidFill>
                  <a:prstClr val="black"/>
                </a:solidFill>
                <a:sym typeface="Wingdings" panose="05000000000000000000" pitchFamily="2" charset="2"/>
              </a:rPr>
              <a:t>(</a:t>
            </a:r>
            <a:r>
              <a:rPr lang="nl-NL" sz="1400" b="0" i="1" dirty="0">
                <a:solidFill>
                  <a:prstClr val="black"/>
                </a:solidFill>
                <a:sym typeface="Wingdings" panose="05000000000000000000" pitchFamily="2" charset="2"/>
              </a:rPr>
              <a:t>status quo</a:t>
            </a:r>
            <a:r>
              <a:rPr lang="nl-NL" sz="1400" b="0" dirty="0">
                <a:solidFill>
                  <a:prstClr val="black"/>
                </a:solidFill>
                <a:sym typeface="Wingdings" panose="05000000000000000000" pitchFamily="2" charset="2"/>
              </a:rPr>
              <a:t>): </a:t>
            </a:r>
          </a:p>
          <a:p>
            <a:pPr lvl="4" algn="just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nl-NL" sz="1400" dirty="0">
                <a:solidFill>
                  <a:prstClr val="black"/>
                </a:solidFill>
                <a:sym typeface="Wingdings" panose="05000000000000000000" pitchFamily="2" charset="2"/>
              </a:rPr>
              <a:t>Deelnemingsopzet: </a:t>
            </a:r>
            <a:r>
              <a:rPr lang="nl-NL" sz="1400" b="0" dirty="0">
                <a:solidFill>
                  <a:prstClr val="black"/>
                </a:solidFill>
                <a:sym typeface="Wingdings" panose="05000000000000000000" pitchFamily="2" charset="2"/>
              </a:rPr>
              <a:t>wetens en willens op betekenisvolle wijze bijdragen tot een misdrijf</a:t>
            </a:r>
          </a:p>
          <a:p>
            <a:pPr lvl="4" algn="just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en-US" sz="1400" dirty="0"/>
              <a:t> </a:t>
            </a:r>
            <a:r>
              <a:rPr lang="en-US" sz="1400" dirty="0" err="1"/>
              <a:t>Moreel</a:t>
            </a:r>
            <a:r>
              <a:rPr lang="en-US" sz="1400" dirty="0"/>
              <a:t> element van </a:t>
            </a:r>
            <a:r>
              <a:rPr lang="en-US" sz="1400" dirty="0" err="1"/>
              <a:t>hoofdmisdrijf</a:t>
            </a:r>
            <a:r>
              <a:rPr lang="en-US" sz="1400" dirty="0"/>
              <a:t> (</a:t>
            </a:r>
            <a:r>
              <a:rPr lang="en-US" sz="1400" dirty="0" err="1"/>
              <a:t>bv</a:t>
            </a:r>
            <a:r>
              <a:rPr lang="en-US" sz="1400" dirty="0"/>
              <a:t>. </a:t>
            </a:r>
            <a:r>
              <a:rPr lang="en-US" sz="1400" dirty="0" err="1"/>
              <a:t>bijzonder</a:t>
            </a:r>
            <a:r>
              <a:rPr lang="en-US" sz="1400" dirty="0"/>
              <a:t> </a:t>
            </a:r>
            <a:r>
              <a:rPr lang="en-US" sz="1400" dirty="0" err="1"/>
              <a:t>opzet</a:t>
            </a:r>
            <a:r>
              <a:rPr lang="en-US" sz="1400" dirty="0"/>
              <a:t>) is </a:t>
            </a:r>
            <a:r>
              <a:rPr lang="en-US" sz="1400" dirty="0" err="1"/>
              <a:t>niet</a:t>
            </a:r>
            <a:r>
              <a:rPr lang="en-US" sz="1400" dirty="0"/>
              <a:t> </a:t>
            </a:r>
            <a:r>
              <a:rPr lang="en-US" sz="1400" dirty="0" err="1"/>
              <a:t>vereist</a:t>
            </a:r>
            <a:r>
              <a:rPr lang="en-US" sz="1400" dirty="0"/>
              <a:t> </a:t>
            </a:r>
            <a:r>
              <a:rPr lang="en-US" sz="1400" dirty="0" err="1"/>
              <a:t>voor</a:t>
            </a:r>
            <a:r>
              <a:rPr lang="en-US" sz="1400" dirty="0"/>
              <a:t> </a:t>
            </a:r>
            <a:r>
              <a:rPr lang="en-US" sz="1400" dirty="0" err="1"/>
              <a:t>deelnemer</a:t>
            </a:r>
            <a:endParaRPr lang="en-US" sz="1400" dirty="0"/>
          </a:p>
          <a:p>
            <a:pPr lvl="4" algn="just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en-US" sz="1400" dirty="0" err="1"/>
              <a:t>Eventueel</a:t>
            </a:r>
            <a:r>
              <a:rPr lang="en-US" sz="1400" dirty="0"/>
              <a:t> </a:t>
            </a:r>
            <a:r>
              <a:rPr lang="en-US" sz="1400" dirty="0" err="1"/>
              <a:t>deelnemingsopzet</a:t>
            </a:r>
            <a:r>
              <a:rPr lang="en-US" sz="1400" dirty="0"/>
              <a:t> </a:t>
            </a:r>
            <a:r>
              <a:rPr lang="en-US" sz="1400" dirty="0" err="1"/>
              <a:t>kan</a:t>
            </a:r>
            <a:r>
              <a:rPr lang="en-US" sz="1400" dirty="0"/>
              <a:t>: </a:t>
            </a:r>
            <a:r>
              <a:rPr lang="en-US" sz="1400" dirty="0" err="1"/>
              <a:t>mogelijkheid</a:t>
            </a:r>
            <a:r>
              <a:rPr lang="en-US" sz="1400" dirty="0"/>
              <a:t> van </a:t>
            </a:r>
            <a:r>
              <a:rPr lang="en-US" sz="1400" dirty="0" err="1"/>
              <a:t>bijdragen</a:t>
            </a:r>
            <a:r>
              <a:rPr lang="en-US" sz="1400" dirty="0"/>
              <a:t> </a:t>
            </a:r>
            <a:r>
              <a:rPr lang="en-US" sz="1400" dirty="0" err="1"/>
              <a:t>aan</a:t>
            </a:r>
            <a:r>
              <a:rPr lang="en-US" sz="1400" dirty="0"/>
              <a:t> </a:t>
            </a:r>
            <a:r>
              <a:rPr lang="en-US" sz="1400" dirty="0" err="1"/>
              <a:t>een</a:t>
            </a:r>
            <a:r>
              <a:rPr lang="en-US" sz="1400" dirty="0"/>
              <a:t> </a:t>
            </a:r>
            <a:r>
              <a:rPr lang="en-US" sz="1400" dirty="0" err="1"/>
              <a:t>misdrijf</a:t>
            </a:r>
            <a:r>
              <a:rPr lang="en-US" sz="1400" dirty="0"/>
              <a:t> ‘</a:t>
            </a:r>
            <a:r>
              <a:rPr lang="en-US" sz="1400" i="0" dirty="0"/>
              <a:t>er op de </a:t>
            </a:r>
            <a:r>
              <a:rPr lang="en-US" sz="1400" i="0" dirty="0" err="1"/>
              <a:t>koop</a:t>
            </a:r>
            <a:r>
              <a:rPr lang="en-US" sz="1400" i="0" dirty="0"/>
              <a:t> toe </a:t>
            </a:r>
            <a:r>
              <a:rPr lang="en-US" sz="1400" i="0" dirty="0" err="1"/>
              <a:t>bij</a:t>
            </a:r>
            <a:r>
              <a:rPr lang="en-US" sz="1400" i="0" dirty="0"/>
              <a:t> </a:t>
            </a:r>
            <a:r>
              <a:rPr lang="en-US" sz="1400" i="0" dirty="0" err="1"/>
              <a:t>nemen</a:t>
            </a:r>
            <a:r>
              <a:rPr lang="en-US" sz="1400" i="0" dirty="0"/>
              <a:t>’</a:t>
            </a:r>
          </a:p>
          <a:p>
            <a:pPr marL="371475" lvl="4" indent="0" algn="just">
              <a:spcBef>
                <a:spcPts val="300"/>
              </a:spcBef>
              <a:buNone/>
              <a:defRPr/>
            </a:pPr>
            <a:endParaRPr lang="nl-NL" sz="1400" b="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390525" lvl="1" indent="-285750">
              <a:buFont typeface="Wingdings" panose="05000000000000000000" pitchFamily="2" charset="2"/>
              <a:buChar char="Ø"/>
            </a:pPr>
            <a:r>
              <a:rPr lang="en-US" sz="1400" dirty="0" err="1">
                <a:sym typeface="Wingdings" panose="05000000000000000000" pitchFamily="2" charset="2"/>
              </a:rPr>
              <a:t>Materieel</a:t>
            </a:r>
            <a:r>
              <a:rPr lang="en-US" sz="1400" dirty="0">
                <a:sym typeface="Wingdings" panose="05000000000000000000" pitchFamily="2" charset="2"/>
              </a:rPr>
              <a:t> element </a:t>
            </a:r>
            <a:r>
              <a:rPr lang="en-US" sz="1400" b="0" dirty="0">
                <a:sym typeface="Wingdings" panose="05000000000000000000" pitchFamily="2" charset="2"/>
              </a:rPr>
              <a:t>(</a:t>
            </a:r>
            <a:r>
              <a:rPr lang="en-US" sz="1400" b="0" dirty="0" err="1">
                <a:sym typeface="Wingdings" panose="05000000000000000000" pitchFamily="2" charset="2"/>
              </a:rPr>
              <a:t>lagere</a:t>
            </a:r>
            <a:r>
              <a:rPr lang="en-US" sz="1400" b="0" dirty="0">
                <a:sym typeface="Wingdings" panose="05000000000000000000" pitchFamily="2" charset="2"/>
              </a:rPr>
              <a:t> </a:t>
            </a:r>
            <a:r>
              <a:rPr lang="en-US" sz="1400" b="0" dirty="0" err="1">
                <a:sym typeface="Wingdings" panose="05000000000000000000" pitchFamily="2" charset="2"/>
              </a:rPr>
              <a:t>drempel</a:t>
            </a:r>
            <a:r>
              <a:rPr lang="en-US" sz="1400" b="0" dirty="0">
                <a:sym typeface="Wingdings" panose="05000000000000000000" pitchFamily="2" charset="2"/>
              </a:rPr>
              <a:t>):</a:t>
            </a:r>
          </a:p>
          <a:p>
            <a:pPr marL="638175" lvl="3" indent="-285750">
              <a:buFont typeface="Wingdings" panose="05000000000000000000" pitchFamily="2" charset="2"/>
              <a:buChar char="ü"/>
            </a:pPr>
            <a:r>
              <a:rPr lang="en-US" sz="1400" dirty="0" err="1">
                <a:sym typeface="Wingdings" panose="05000000000000000000" pitchFamily="2" charset="2"/>
              </a:rPr>
              <a:t>Rechtstreeks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deelnemen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aan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uitvoering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misdrijf</a:t>
            </a:r>
            <a:endParaRPr lang="en-US" sz="1400" dirty="0">
              <a:solidFill>
                <a:schemeClr val="accent3"/>
              </a:solidFill>
              <a:sym typeface="Wingdings" panose="05000000000000000000" pitchFamily="2" charset="2"/>
            </a:endParaRPr>
          </a:p>
          <a:p>
            <a:pPr marL="638175" lvl="3" indent="-285750">
              <a:buFont typeface="Wingdings" panose="05000000000000000000" pitchFamily="2" charset="2"/>
              <a:buChar char="ü"/>
            </a:pPr>
            <a:r>
              <a:rPr lang="en-US" sz="1400" b="0" dirty="0" err="1">
                <a:solidFill>
                  <a:schemeClr val="accent3"/>
                </a:solidFill>
                <a:sym typeface="Wingdings" panose="05000000000000000000" pitchFamily="2" charset="2"/>
              </a:rPr>
              <a:t>Vergemakkelijken</a:t>
            </a:r>
            <a:r>
              <a:rPr lang="en-US" sz="1400" b="0" dirty="0">
                <a:solidFill>
                  <a:schemeClr val="accent3"/>
                </a:solidFill>
                <a:sym typeface="Wingdings" panose="05000000000000000000" pitchFamily="2" charset="2"/>
              </a:rPr>
              <a:t> van </a:t>
            </a:r>
            <a:r>
              <a:rPr lang="en-US" sz="1400" b="0" dirty="0" err="1">
                <a:solidFill>
                  <a:schemeClr val="accent3"/>
                </a:solidFill>
                <a:sym typeface="Wingdings" panose="05000000000000000000" pitchFamily="2" charset="2"/>
              </a:rPr>
              <a:t>voorbereiding</a:t>
            </a:r>
            <a:r>
              <a:rPr lang="en-US" sz="1400" b="0" dirty="0">
                <a:solidFill>
                  <a:schemeClr val="accent3"/>
                </a:solidFill>
                <a:sym typeface="Wingdings" panose="05000000000000000000" pitchFamily="2" charset="2"/>
              </a:rPr>
              <a:t> 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of </a:t>
            </a:r>
            <a:r>
              <a:rPr lang="en-US" sz="1400" dirty="0" err="1">
                <a:solidFill>
                  <a:schemeClr val="accent3"/>
                </a:solidFill>
                <a:sym typeface="Wingdings" panose="05000000000000000000" pitchFamily="2" charset="2"/>
              </a:rPr>
              <a:t>uitvoering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 </a:t>
            </a:r>
            <a:r>
              <a:rPr lang="en-US" sz="1400" dirty="0" err="1">
                <a:solidFill>
                  <a:schemeClr val="accent3"/>
                </a:solidFill>
                <a:sym typeface="Wingdings" panose="05000000000000000000" pitchFamily="2" charset="2"/>
              </a:rPr>
              <a:t>misdrijf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 (</a:t>
            </a:r>
            <a:r>
              <a:rPr lang="en-US" sz="1400" dirty="0" err="1">
                <a:solidFill>
                  <a:schemeClr val="accent3"/>
                </a:solidFill>
                <a:sym typeface="Wingdings" panose="05000000000000000000" pitchFamily="2" charset="2"/>
              </a:rPr>
              <a:t>vgl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. ‘</a:t>
            </a:r>
            <a:r>
              <a:rPr lang="en-US" sz="1400" dirty="0" err="1">
                <a:solidFill>
                  <a:schemeClr val="accent3"/>
                </a:solidFill>
                <a:sym typeface="Wingdings" panose="05000000000000000000" pitchFamily="2" charset="2"/>
              </a:rPr>
              <a:t>nuttige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 </a:t>
            </a:r>
            <a:r>
              <a:rPr lang="en-US" sz="1400" dirty="0" err="1">
                <a:solidFill>
                  <a:schemeClr val="accent3"/>
                </a:solidFill>
                <a:sym typeface="Wingdings" panose="05000000000000000000" pitchFamily="2" charset="2"/>
              </a:rPr>
              <a:t>medehulp</a:t>
            </a: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’)</a:t>
            </a:r>
          </a:p>
          <a:p>
            <a:pPr marL="638175" lvl="3" indent="-285750">
              <a:buFont typeface="Wingdings" panose="05000000000000000000" pitchFamily="2" charset="2"/>
              <a:buChar char="ü"/>
            </a:pPr>
            <a:r>
              <a:rPr lang="en-US" sz="1400" b="0" dirty="0" err="1">
                <a:sym typeface="Wingdings" panose="05000000000000000000" pitchFamily="2" charset="2"/>
              </a:rPr>
              <a:t>Rechtstreeks</a:t>
            </a:r>
            <a:r>
              <a:rPr lang="en-US" sz="1400" b="0" dirty="0">
                <a:sym typeface="Wingdings" panose="05000000000000000000" pitchFamily="2" charset="2"/>
              </a:rPr>
              <a:t> </a:t>
            </a:r>
            <a:r>
              <a:rPr lang="en-US" sz="1400" b="0" dirty="0" err="1">
                <a:sym typeface="Wingdings" panose="05000000000000000000" pitchFamily="2" charset="2"/>
              </a:rPr>
              <a:t>aanzetten</a:t>
            </a:r>
            <a:r>
              <a:rPr lang="en-US" sz="1400" b="0" dirty="0">
                <a:sym typeface="Wingdings" panose="05000000000000000000" pitchFamily="2" charset="2"/>
              </a:rPr>
              <a:t> tot </a:t>
            </a:r>
            <a:r>
              <a:rPr lang="en-US" sz="1400" b="0" dirty="0" err="1">
                <a:sym typeface="Wingdings" panose="05000000000000000000" pitchFamily="2" charset="2"/>
              </a:rPr>
              <a:t>plegen</a:t>
            </a:r>
            <a:r>
              <a:rPr lang="en-US" sz="1400" b="0" dirty="0">
                <a:sym typeface="Wingdings" panose="05000000000000000000" pitchFamily="2" charset="2"/>
              </a:rPr>
              <a:t> </a:t>
            </a:r>
            <a:r>
              <a:rPr lang="en-US" sz="1400" b="0" dirty="0" err="1">
                <a:sym typeface="Wingdings" panose="05000000000000000000" pitchFamily="2" charset="2"/>
              </a:rPr>
              <a:t>misdrijf</a:t>
            </a:r>
            <a:endParaRPr lang="en-US" sz="1400" b="0" dirty="0">
              <a:sym typeface="Wingdings" panose="05000000000000000000" pitchFamily="2" charset="2"/>
            </a:endParaRPr>
          </a:p>
          <a:p>
            <a:pPr marL="638175" lvl="3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accent3"/>
                </a:solidFill>
                <a:sym typeface="Wingdings" panose="05000000000000000000" pitchFamily="2" charset="2"/>
              </a:rPr>
              <a:t>Door </a:t>
            </a:r>
            <a:r>
              <a:rPr lang="nl-BE" sz="1400" b="1" dirty="0">
                <a:solidFill>
                  <a:schemeClr val="accent3"/>
                </a:solidFill>
                <a:sym typeface="Wingdings" panose="05000000000000000000" pitchFamily="2" charset="2"/>
              </a:rPr>
              <a:t>omissie</a:t>
            </a:r>
            <a:r>
              <a:rPr lang="nl-BE" sz="1400" dirty="0">
                <a:solidFill>
                  <a:schemeClr val="accent3"/>
                </a:solidFill>
                <a:sym typeface="Wingdings" panose="05000000000000000000" pitchFamily="2" charset="2"/>
              </a:rPr>
              <a:t> het plegen van het misdrijf bevorderen of vergemakkelijken  quid meldingsplichten? </a:t>
            </a:r>
          </a:p>
          <a:p>
            <a:pPr marL="638175" lvl="3" indent="-285750">
              <a:buFont typeface="Wingdings" panose="05000000000000000000" pitchFamily="2" charset="2"/>
              <a:buChar char="ü"/>
            </a:pPr>
            <a:r>
              <a:rPr lang="en-US" sz="1400" dirty="0" err="1">
                <a:sym typeface="Wingdings" panose="05000000000000000000" pitchFamily="2" charset="2"/>
              </a:rPr>
              <a:t>Hulp</a:t>
            </a:r>
            <a:r>
              <a:rPr lang="en-US" sz="1400" dirty="0">
                <a:sym typeface="Wingdings" panose="05000000000000000000" pitchFamily="2" charset="2"/>
              </a:rPr>
              <a:t> of </a:t>
            </a:r>
            <a:r>
              <a:rPr lang="en-US" sz="1400" dirty="0" err="1">
                <a:sym typeface="Wingdings" panose="05000000000000000000" pitchFamily="2" charset="2"/>
              </a:rPr>
              <a:t>bijstand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aan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dader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b="1" dirty="0" err="1">
                <a:sym typeface="Wingdings" panose="05000000000000000000" pitchFamily="2" charset="2"/>
              </a:rPr>
              <a:t>na</a:t>
            </a:r>
            <a:r>
              <a:rPr lang="en-US" sz="1400" dirty="0">
                <a:sym typeface="Wingdings" panose="05000000000000000000" pitchFamily="2" charset="2"/>
              </a:rPr>
              <a:t> het </a:t>
            </a:r>
            <a:r>
              <a:rPr lang="en-US" sz="1400" dirty="0" err="1">
                <a:sym typeface="Wingdings" panose="05000000000000000000" pitchFamily="2" charset="2"/>
              </a:rPr>
              <a:t>misdrijf</a:t>
            </a:r>
            <a:r>
              <a:rPr lang="en-US" sz="1400" dirty="0">
                <a:sym typeface="Wingdings" panose="05000000000000000000" pitchFamily="2" charset="2"/>
              </a:rPr>
              <a:t>, </a:t>
            </a:r>
            <a:r>
              <a:rPr lang="en-US" sz="1400" dirty="0" err="1">
                <a:sym typeface="Wingdings" panose="05000000000000000000" pitchFamily="2" charset="2"/>
              </a:rPr>
              <a:t>indien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hierover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vooraf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 err="1">
                <a:sym typeface="Wingdings" panose="05000000000000000000" pitchFamily="2" charset="2"/>
              </a:rPr>
              <a:t>overleg</a:t>
            </a:r>
            <a:r>
              <a:rPr lang="en-US" sz="1400" dirty="0">
                <a:sym typeface="Wingdings" panose="05000000000000000000" pitchFamily="2" charset="2"/>
              </a:rPr>
              <a:t> is </a:t>
            </a:r>
            <a:r>
              <a:rPr lang="en-US" sz="1400" dirty="0" err="1">
                <a:sym typeface="Wingdings" panose="05000000000000000000" pitchFamily="2" charset="2"/>
              </a:rPr>
              <a:t>gepleegd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endParaRPr lang="en-US" sz="1400" b="0" dirty="0">
              <a:sym typeface="Wingdings" panose="05000000000000000000" pitchFamily="2" charset="2"/>
            </a:endParaRPr>
          </a:p>
          <a:p>
            <a:endParaRPr lang="nl-BE" sz="14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b="1" dirty="0">
                <a:solidFill>
                  <a:prstClr val="black"/>
                </a:solidFill>
                <a:sym typeface="Wingdings" panose="05000000000000000000" pitchFamily="2" charset="2"/>
              </a:rPr>
              <a:t>Bestraffing strafbare deelneming (art. 19 NSW)</a:t>
            </a:r>
            <a:r>
              <a:rPr lang="nl-NL" sz="1400" dirty="0">
                <a:solidFill>
                  <a:prstClr val="black"/>
                </a:solidFill>
                <a:sym typeface="Wingdings" panose="05000000000000000000" pitchFamily="2" charset="2"/>
              </a:rPr>
              <a:t>: gestraft als dader (ook bij nuttige medehulp)</a:t>
            </a:r>
          </a:p>
          <a:p>
            <a:endParaRPr lang="nl-BE" sz="14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BE" sz="1400" dirty="0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59A868D3-3F8C-C70C-FF1C-47BFD0FA7AB2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4052877824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4481" y="3600450"/>
            <a:ext cx="8566108" cy="2759216"/>
          </a:xfrm>
        </p:spPr>
        <p:txBody>
          <a:bodyPr>
            <a:noAutofit/>
          </a:bodyPr>
          <a:lstStyle/>
          <a:p>
            <a:r>
              <a:rPr lang="en-GB" sz="800" dirty="0"/>
              <a:t>As a top legal practice in Belgium, Deloitte Legal - </a:t>
            </a:r>
            <a:r>
              <a:rPr lang="en-GB" sz="800" i="1" dirty="0"/>
              <a:t>Lawyers</a:t>
            </a:r>
            <a:r>
              <a:rPr lang="en-GB" sz="800" dirty="0"/>
              <a:t> is a full service business law firm, highly recommended by the most authoritative legal guides. Deloitte Legal - </a:t>
            </a:r>
            <a:r>
              <a:rPr lang="en-GB" sz="800" i="1" dirty="0"/>
              <a:t>Lawyers</a:t>
            </a:r>
            <a:r>
              <a:rPr lang="en-GB" sz="800" dirty="0"/>
              <a:t> is based in Zaventem, </a:t>
            </a:r>
            <a:r>
              <a:rPr lang="en-GB" sz="800" dirty="0" err="1"/>
              <a:t>Watermael-Boitsfort</a:t>
            </a:r>
            <a:r>
              <a:rPr lang="en-GB" sz="800" dirty="0"/>
              <a:t>, Antwerp, Ghent and Kortrijk. It consists of close to 150 highly qualified Bar-admitted lawyers. Deloitte Legal - </a:t>
            </a:r>
            <a:r>
              <a:rPr lang="en-GB" sz="800" i="1" dirty="0"/>
              <a:t>Lawyers</a:t>
            </a:r>
            <a:r>
              <a:rPr lang="en-GB" sz="800" dirty="0"/>
              <a:t> offers expert advice in the fields of banking &amp; finance, commercial, corporate/M&amp;A, employment, IT/IP, public/administrative, insolvency and reorganisations, real estate, EU law, tax law, tax &amp; legal services for high-net-worth families &amp; individuals (</a:t>
            </a:r>
            <a:r>
              <a:rPr lang="en-GB" sz="800" dirty="0" err="1"/>
              <a:t>Greenille</a:t>
            </a:r>
            <a:r>
              <a:rPr lang="en-GB" sz="800" dirty="0"/>
              <a:t> Private Client) and dispute resolution. Whenever required to ensure a seamless and comprehensive high-quality service, Deloitte Legal - </a:t>
            </a:r>
            <a:r>
              <a:rPr lang="en-GB" sz="800" i="1" dirty="0"/>
              <a:t>Lawyers</a:t>
            </a:r>
            <a:r>
              <a:rPr lang="en-GB" sz="800" dirty="0"/>
              <a:t> collaborates closely with other professions (e.g. tax, financial advisory, accountancy, consulting), and with a select group of law firms all over the world.</a:t>
            </a:r>
          </a:p>
          <a:p>
            <a:r>
              <a:rPr lang="en-GB" sz="800" dirty="0"/>
              <a:t>Deloitte Legal - </a:t>
            </a:r>
            <a:r>
              <a:rPr lang="en-GB" sz="800" i="1" dirty="0"/>
              <a:t>Lawyers</a:t>
            </a:r>
            <a:r>
              <a:rPr lang="en-GB" sz="800" dirty="0"/>
              <a:t> provides thorough and practical solutions tailored to the needs of clients ranging from multinational companies, national large and medium-sized enterprises, financial institutions, government bodies to private clients.</a:t>
            </a:r>
          </a:p>
          <a:p>
            <a:r>
              <a:rPr lang="en-GB" sz="800" dirty="0"/>
              <a:t>More information: </a:t>
            </a:r>
            <a:r>
              <a:rPr lang="en-GB" sz="800" b="1" dirty="0">
                <a:hlinkClick r:id="rId6"/>
              </a:rPr>
              <a:t>www.deloittelegal.be</a:t>
            </a:r>
            <a:r>
              <a:rPr lang="en-GB" sz="800" dirty="0"/>
              <a:t> </a:t>
            </a:r>
            <a:endParaRPr lang="en-US" sz="800" dirty="0">
              <a:solidFill>
                <a:prstClr val="black"/>
              </a:solidFill>
            </a:endParaRPr>
          </a:p>
          <a:p>
            <a:pPr>
              <a:spcAft>
                <a:spcPts val="600"/>
              </a:spcAft>
            </a:pPr>
            <a:r>
              <a:rPr lang="en-US" dirty="0"/>
              <a:t>This communication contains general information only, and Deloitte Legal - </a:t>
            </a:r>
            <a:r>
              <a:rPr lang="en-US" i="1" dirty="0"/>
              <a:t>Lawyers</a:t>
            </a:r>
            <a:r>
              <a:rPr lang="en-US" dirty="0"/>
              <a:t> is not, by means of this communication, rendering professional advice or services. Before making any decision or taking any action that may affect your finances or your business, you should consult a qualified professional adviser.</a:t>
            </a:r>
          </a:p>
          <a:p>
            <a:pPr>
              <a:spcAft>
                <a:spcPts val="600"/>
              </a:spcAft>
            </a:pPr>
            <a:r>
              <a:rPr lang="en-US" dirty="0"/>
              <a:t>No representations, warranties or undertakings (express or implied) are given as to the accuracy or completeness of the information in this communication, and Deloitte Legal - </a:t>
            </a:r>
            <a:r>
              <a:rPr lang="en-US" i="1" dirty="0"/>
              <a:t>Lawyers</a:t>
            </a:r>
            <a:r>
              <a:rPr lang="en-US" dirty="0"/>
              <a:t> shall not be liable or responsible for any loss or damage whatsoever arising directly or indirectly in connection with any person relying on this communication. </a:t>
            </a:r>
          </a:p>
          <a:p>
            <a:pPr>
              <a:spcAft>
                <a:spcPts val="600"/>
              </a:spcAft>
            </a:pPr>
            <a:r>
              <a:rPr lang="en-US" noProof="0" dirty="0"/>
              <a:t>© 2024. Deloitte Lega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0553B02-4E3B-25C4-AEAE-A8EAC0458EF9}"/>
              </a:ext>
            </a:extLst>
          </p:cNvPr>
          <p:cNvGrpSpPr>
            <a:grpSpLocks noChangeAspect="1"/>
          </p:cNvGrpSpPr>
          <p:nvPr/>
        </p:nvGrpSpPr>
        <p:grpSpPr>
          <a:xfrm>
            <a:off x="461897" y="342900"/>
            <a:ext cx="1836000" cy="850144"/>
            <a:chOff x="461897" y="1271016"/>
            <a:chExt cx="1812888" cy="839442"/>
          </a:xfrm>
        </p:grpSpPr>
        <p:sp>
          <p:nvSpPr>
            <p:cNvPr id="4" name="Freeform 16">
              <a:extLst>
                <a:ext uri="{FF2B5EF4-FFF2-40B4-BE49-F238E27FC236}">
                  <a16:creationId xmlns:a16="http://schemas.microsoft.com/office/drawing/2014/main" id="{3E03C01A-3A5B-3315-F1E0-0F1C822D520F}"/>
                </a:ext>
              </a:extLst>
            </p:cNvPr>
            <p:cNvSpPr/>
            <p:nvPr/>
          </p:nvSpPr>
          <p:spPr>
            <a:xfrm>
              <a:off x="2179068" y="1514138"/>
              <a:ext cx="95717" cy="95717"/>
            </a:xfrm>
            <a:custGeom>
              <a:avLst/>
              <a:gdLst>
                <a:gd name="connsiteX0" fmla="*/ 0 w 95250"/>
                <a:gd name="connsiteY0" fmla="*/ 47625 h 95250"/>
                <a:gd name="connsiteX1" fmla="*/ 47625 w 95250"/>
                <a:gd name="connsiteY1" fmla="*/ 0 h 95250"/>
                <a:gd name="connsiteX2" fmla="*/ 95250 w 95250"/>
                <a:gd name="connsiteY2" fmla="*/ 47625 h 95250"/>
                <a:gd name="connsiteX3" fmla="*/ 47625 w 95250"/>
                <a:gd name="connsiteY3" fmla="*/ 95250 h 95250"/>
                <a:gd name="connsiteX4" fmla="*/ 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0" y="47625"/>
                  </a:moveTo>
                  <a:cubicBezTo>
                    <a:pt x="0" y="20955"/>
                    <a:pt x="21908" y="0"/>
                    <a:pt x="47625" y="0"/>
                  </a:cubicBezTo>
                  <a:cubicBezTo>
                    <a:pt x="74295" y="0"/>
                    <a:pt x="95250" y="20955"/>
                    <a:pt x="95250" y="47625"/>
                  </a:cubicBezTo>
                  <a:cubicBezTo>
                    <a:pt x="95250" y="74295"/>
                    <a:pt x="74295" y="95250"/>
                    <a:pt x="47625" y="95250"/>
                  </a:cubicBezTo>
                  <a:cubicBezTo>
                    <a:pt x="21908" y="95250"/>
                    <a:pt x="0" y="74295"/>
                    <a:pt x="0" y="47625"/>
                  </a:cubicBezTo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7">
              <a:extLst>
                <a:ext uri="{FF2B5EF4-FFF2-40B4-BE49-F238E27FC236}">
                  <a16:creationId xmlns:a16="http://schemas.microsoft.com/office/drawing/2014/main" id="{EBDCE775-7BAD-22BE-A655-D0E3B13464D6}"/>
                </a:ext>
              </a:extLst>
            </p:cNvPr>
            <p:cNvSpPr/>
            <p:nvPr/>
          </p:nvSpPr>
          <p:spPr>
            <a:xfrm>
              <a:off x="461897" y="1272930"/>
              <a:ext cx="275665" cy="332139"/>
            </a:xfrm>
            <a:custGeom>
              <a:avLst/>
              <a:gdLst>
                <a:gd name="connsiteX0" fmla="*/ 274320 w 274319"/>
                <a:gd name="connsiteY0" fmla="*/ 158115 h 330517"/>
                <a:gd name="connsiteX1" fmla="*/ 229552 w 274319"/>
                <a:gd name="connsiteY1" fmla="*/ 285750 h 330517"/>
                <a:gd name="connsiteX2" fmla="*/ 104775 w 274319"/>
                <a:gd name="connsiteY2" fmla="*/ 330517 h 330517"/>
                <a:gd name="connsiteX3" fmla="*/ 0 w 274319"/>
                <a:gd name="connsiteY3" fmla="*/ 330517 h 330517"/>
                <a:gd name="connsiteX4" fmla="*/ 0 w 274319"/>
                <a:gd name="connsiteY4" fmla="*/ 0 h 330517"/>
                <a:gd name="connsiteX5" fmla="*/ 111442 w 274319"/>
                <a:gd name="connsiteY5" fmla="*/ 0 h 330517"/>
                <a:gd name="connsiteX6" fmla="*/ 231457 w 274319"/>
                <a:gd name="connsiteY6" fmla="*/ 40957 h 330517"/>
                <a:gd name="connsiteX7" fmla="*/ 274320 w 274319"/>
                <a:gd name="connsiteY7" fmla="*/ 158115 h 330517"/>
                <a:gd name="connsiteX8" fmla="*/ 183832 w 274319"/>
                <a:gd name="connsiteY8" fmla="*/ 160972 h 330517"/>
                <a:gd name="connsiteX9" fmla="*/ 166688 w 274319"/>
                <a:gd name="connsiteY9" fmla="*/ 93345 h 330517"/>
                <a:gd name="connsiteX10" fmla="*/ 113348 w 274319"/>
                <a:gd name="connsiteY10" fmla="*/ 71438 h 330517"/>
                <a:gd name="connsiteX11" fmla="*/ 87630 w 274319"/>
                <a:gd name="connsiteY11" fmla="*/ 71438 h 330517"/>
                <a:gd name="connsiteX12" fmla="*/ 87630 w 274319"/>
                <a:gd name="connsiteY12" fmla="*/ 256222 h 330517"/>
                <a:gd name="connsiteX13" fmla="*/ 106680 w 274319"/>
                <a:gd name="connsiteY13" fmla="*/ 256222 h 330517"/>
                <a:gd name="connsiteX14" fmla="*/ 164782 w 274319"/>
                <a:gd name="connsiteY14" fmla="*/ 232410 h 330517"/>
                <a:gd name="connsiteX15" fmla="*/ 183832 w 274319"/>
                <a:gd name="connsiteY15" fmla="*/ 160972 h 33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4319" h="330517">
                  <a:moveTo>
                    <a:pt x="274320" y="158115"/>
                  </a:moveTo>
                  <a:cubicBezTo>
                    <a:pt x="274320" y="213360"/>
                    <a:pt x="259080" y="256222"/>
                    <a:pt x="229552" y="285750"/>
                  </a:cubicBezTo>
                  <a:cubicBezTo>
                    <a:pt x="200025" y="315277"/>
                    <a:pt x="158115" y="330517"/>
                    <a:pt x="104775" y="330517"/>
                  </a:cubicBezTo>
                  <a:lnTo>
                    <a:pt x="0" y="330517"/>
                  </a:lnTo>
                  <a:lnTo>
                    <a:pt x="0" y="0"/>
                  </a:lnTo>
                  <a:lnTo>
                    <a:pt x="111442" y="0"/>
                  </a:lnTo>
                  <a:cubicBezTo>
                    <a:pt x="162877" y="0"/>
                    <a:pt x="202882" y="13335"/>
                    <a:pt x="231457" y="40957"/>
                  </a:cubicBezTo>
                  <a:cubicBezTo>
                    <a:pt x="260032" y="67627"/>
                    <a:pt x="274320" y="106680"/>
                    <a:pt x="274320" y="158115"/>
                  </a:cubicBezTo>
                  <a:moveTo>
                    <a:pt x="183832" y="160972"/>
                  </a:moveTo>
                  <a:cubicBezTo>
                    <a:pt x="183832" y="130492"/>
                    <a:pt x="178117" y="108585"/>
                    <a:pt x="166688" y="93345"/>
                  </a:cubicBezTo>
                  <a:cubicBezTo>
                    <a:pt x="155257" y="79057"/>
                    <a:pt x="137160" y="71438"/>
                    <a:pt x="113348" y="71438"/>
                  </a:cubicBezTo>
                  <a:lnTo>
                    <a:pt x="87630" y="71438"/>
                  </a:lnTo>
                  <a:lnTo>
                    <a:pt x="87630" y="256222"/>
                  </a:lnTo>
                  <a:lnTo>
                    <a:pt x="106680" y="256222"/>
                  </a:lnTo>
                  <a:cubicBezTo>
                    <a:pt x="133350" y="256222"/>
                    <a:pt x="152400" y="248602"/>
                    <a:pt x="164782" y="232410"/>
                  </a:cubicBezTo>
                  <a:cubicBezTo>
                    <a:pt x="178117" y="218122"/>
                    <a:pt x="183832" y="193357"/>
                    <a:pt x="183832" y="160972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8">
              <a:extLst>
                <a:ext uri="{FF2B5EF4-FFF2-40B4-BE49-F238E27FC236}">
                  <a16:creationId xmlns:a16="http://schemas.microsoft.com/office/drawing/2014/main" id="{A107B2A9-43B3-1601-0557-9A8E09DF16D7}"/>
                </a:ext>
              </a:extLst>
            </p:cNvPr>
            <p:cNvSpPr/>
            <p:nvPr/>
          </p:nvSpPr>
          <p:spPr>
            <a:xfrm>
              <a:off x="1028544" y="1271016"/>
              <a:ext cx="83274" cy="334053"/>
            </a:xfrm>
            <a:custGeom>
              <a:avLst/>
              <a:gdLst>
                <a:gd name="connsiteX0" fmla="*/ 0 w 82867"/>
                <a:gd name="connsiteY0" fmla="*/ 0 h 332422"/>
                <a:gd name="connsiteX1" fmla="*/ 82868 w 82867"/>
                <a:gd name="connsiteY1" fmla="*/ 0 h 332422"/>
                <a:gd name="connsiteX2" fmla="*/ 82868 w 82867"/>
                <a:gd name="connsiteY2" fmla="*/ 332422 h 332422"/>
                <a:gd name="connsiteX3" fmla="*/ 0 w 82867"/>
                <a:gd name="connsiteY3" fmla="*/ 332422 h 332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867" h="332422">
                  <a:moveTo>
                    <a:pt x="0" y="0"/>
                  </a:moveTo>
                  <a:lnTo>
                    <a:pt x="82868" y="0"/>
                  </a:lnTo>
                  <a:lnTo>
                    <a:pt x="82868" y="332422"/>
                  </a:lnTo>
                  <a:lnTo>
                    <a:pt x="0" y="33242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30">
              <a:extLst>
                <a:ext uri="{FF2B5EF4-FFF2-40B4-BE49-F238E27FC236}">
                  <a16:creationId xmlns:a16="http://schemas.microsoft.com/office/drawing/2014/main" id="{F99C12C0-3CED-C3B3-570C-A5498D7F6BF8}"/>
                </a:ext>
              </a:extLst>
            </p:cNvPr>
            <p:cNvSpPr/>
            <p:nvPr/>
          </p:nvSpPr>
          <p:spPr>
            <a:xfrm>
              <a:off x="1144362" y="1354291"/>
              <a:ext cx="241207" cy="255565"/>
            </a:xfrm>
            <a:custGeom>
              <a:avLst/>
              <a:gdLst>
                <a:gd name="connsiteX0" fmla="*/ 240030 w 240029"/>
                <a:gd name="connsiteY0" fmla="*/ 125730 h 254317"/>
                <a:gd name="connsiteX1" fmla="*/ 208598 w 240029"/>
                <a:gd name="connsiteY1" fmla="*/ 220027 h 254317"/>
                <a:gd name="connsiteX2" fmla="*/ 120015 w 240029"/>
                <a:gd name="connsiteY2" fmla="*/ 254317 h 254317"/>
                <a:gd name="connsiteX3" fmla="*/ 32385 w 240029"/>
                <a:gd name="connsiteY3" fmla="*/ 220027 h 254317"/>
                <a:gd name="connsiteX4" fmla="*/ 0 w 240029"/>
                <a:gd name="connsiteY4" fmla="*/ 126682 h 254317"/>
                <a:gd name="connsiteX5" fmla="*/ 31433 w 240029"/>
                <a:gd name="connsiteY5" fmla="*/ 33338 h 254317"/>
                <a:gd name="connsiteX6" fmla="*/ 120967 w 240029"/>
                <a:gd name="connsiteY6" fmla="*/ 0 h 254317"/>
                <a:gd name="connsiteX7" fmla="*/ 183833 w 240029"/>
                <a:gd name="connsiteY7" fmla="*/ 15240 h 254317"/>
                <a:gd name="connsiteX8" fmla="*/ 225742 w 240029"/>
                <a:gd name="connsiteY8" fmla="*/ 60007 h 254317"/>
                <a:gd name="connsiteX9" fmla="*/ 240030 w 240029"/>
                <a:gd name="connsiteY9" fmla="*/ 125730 h 254317"/>
                <a:gd name="connsiteX10" fmla="*/ 84773 w 240029"/>
                <a:gd name="connsiteY10" fmla="*/ 125730 h 254317"/>
                <a:gd name="connsiteX11" fmla="*/ 93345 w 240029"/>
                <a:gd name="connsiteY11" fmla="*/ 174307 h 254317"/>
                <a:gd name="connsiteX12" fmla="*/ 120967 w 240029"/>
                <a:gd name="connsiteY12" fmla="*/ 190500 h 254317"/>
                <a:gd name="connsiteX13" fmla="*/ 148590 w 240029"/>
                <a:gd name="connsiteY13" fmla="*/ 174307 h 254317"/>
                <a:gd name="connsiteX14" fmla="*/ 156210 w 240029"/>
                <a:gd name="connsiteY14" fmla="*/ 125730 h 254317"/>
                <a:gd name="connsiteX15" fmla="*/ 148590 w 240029"/>
                <a:gd name="connsiteY15" fmla="*/ 78105 h 254317"/>
                <a:gd name="connsiteX16" fmla="*/ 120967 w 240029"/>
                <a:gd name="connsiteY16" fmla="*/ 61913 h 254317"/>
                <a:gd name="connsiteX17" fmla="*/ 93345 w 240029"/>
                <a:gd name="connsiteY17" fmla="*/ 78105 h 254317"/>
                <a:gd name="connsiteX18" fmla="*/ 84773 w 240029"/>
                <a:gd name="connsiteY18" fmla="*/ 125730 h 25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0029" h="254317">
                  <a:moveTo>
                    <a:pt x="240030" y="125730"/>
                  </a:moveTo>
                  <a:cubicBezTo>
                    <a:pt x="240030" y="165735"/>
                    <a:pt x="229553" y="197167"/>
                    <a:pt x="208598" y="220027"/>
                  </a:cubicBezTo>
                  <a:cubicBezTo>
                    <a:pt x="187642" y="242888"/>
                    <a:pt x="158115" y="254317"/>
                    <a:pt x="120015" y="254317"/>
                  </a:cubicBezTo>
                  <a:cubicBezTo>
                    <a:pt x="83820" y="254317"/>
                    <a:pt x="54292" y="242888"/>
                    <a:pt x="32385" y="220027"/>
                  </a:cubicBezTo>
                  <a:cubicBezTo>
                    <a:pt x="10478" y="197167"/>
                    <a:pt x="0" y="165735"/>
                    <a:pt x="0" y="126682"/>
                  </a:cubicBezTo>
                  <a:cubicBezTo>
                    <a:pt x="0" y="86677"/>
                    <a:pt x="10478" y="55245"/>
                    <a:pt x="31433" y="33338"/>
                  </a:cubicBezTo>
                  <a:cubicBezTo>
                    <a:pt x="52388" y="11430"/>
                    <a:pt x="81915" y="0"/>
                    <a:pt x="120967" y="0"/>
                  </a:cubicBezTo>
                  <a:cubicBezTo>
                    <a:pt x="144780" y="0"/>
                    <a:pt x="165735" y="4763"/>
                    <a:pt x="183833" y="15240"/>
                  </a:cubicBezTo>
                  <a:cubicBezTo>
                    <a:pt x="201930" y="25717"/>
                    <a:pt x="216217" y="40005"/>
                    <a:pt x="225742" y="60007"/>
                  </a:cubicBezTo>
                  <a:cubicBezTo>
                    <a:pt x="235267" y="77152"/>
                    <a:pt x="240030" y="100013"/>
                    <a:pt x="240030" y="125730"/>
                  </a:cubicBezTo>
                  <a:moveTo>
                    <a:pt x="84773" y="125730"/>
                  </a:moveTo>
                  <a:cubicBezTo>
                    <a:pt x="84773" y="146685"/>
                    <a:pt x="87630" y="162877"/>
                    <a:pt x="93345" y="174307"/>
                  </a:cubicBezTo>
                  <a:cubicBezTo>
                    <a:pt x="99060" y="185738"/>
                    <a:pt x="108585" y="190500"/>
                    <a:pt x="120967" y="190500"/>
                  </a:cubicBezTo>
                  <a:cubicBezTo>
                    <a:pt x="134303" y="190500"/>
                    <a:pt x="142875" y="184785"/>
                    <a:pt x="148590" y="174307"/>
                  </a:cubicBezTo>
                  <a:cubicBezTo>
                    <a:pt x="154305" y="162877"/>
                    <a:pt x="156210" y="146685"/>
                    <a:pt x="156210" y="125730"/>
                  </a:cubicBezTo>
                  <a:cubicBezTo>
                    <a:pt x="156210" y="104775"/>
                    <a:pt x="153353" y="88582"/>
                    <a:pt x="148590" y="78105"/>
                  </a:cubicBezTo>
                  <a:cubicBezTo>
                    <a:pt x="142875" y="67627"/>
                    <a:pt x="134303" y="61913"/>
                    <a:pt x="120967" y="61913"/>
                  </a:cubicBezTo>
                  <a:cubicBezTo>
                    <a:pt x="108585" y="61913"/>
                    <a:pt x="99060" y="67627"/>
                    <a:pt x="93345" y="78105"/>
                  </a:cubicBezTo>
                  <a:cubicBezTo>
                    <a:pt x="87630" y="88582"/>
                    <a:pt x="84773" y="104775"/>
                    <a:pt x="84773" y="125730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B73ED855-9421-3540-E395-4A0E02B62E73}"/>
                </a:ext>
              </a:extLst>
            </p:cNvPr>
            <p:cNvSpPr/>
            <p:nvPr/>
          </p:nvSpPr>
          <p:spPr>
            <a:xfrm>
              <a:off x="1419071" y="1357162"/>
              <a:ext cx="83274" cy="247908"/>
            </a:xfrm>
            <a:custGeom>
              <a:avLst/>
              <a:gdLst>
                <a:gd name="connsiteX0" fmla="*/ 0 w 82867"/>
                <a:gd name="connsiteY0" fmla="*/ 0 h 246697"/>
                <a:gd name="connsiteX1" fmla="*/ 82867 w 82867"/>
                <a:gd name="connsiteY1" fmla="*/ 0 h 246697"/>
                <a:gd name="connsiteX2" fmla="*/ 82867 w 82867"/>
                <a:gd name="connsiteY2" fmla="*/ 246697 h 246697"/>
                <a:gd name="connsiteX3" fmla="*/ 0 w 82867"/>
                <a:gd name="connsiteY3" fmla="*/ 246697 h 24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867" h="246697">
                  <a:moveTo>
                    <a:pt x="0" y="0"/>
                  </a:moveTo>
                  <a:lnTo>
                    <a:pt x="82867" y="0"/>
                  </a:lnTo>
                  <a:lnTo>
                    <a:pt x="82867" y="246697"/>
                  </a:lnTo>
                  <a:lnTo>
                    <a:pt x="0" y="246697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736D7B16-7445-D168-9F83-578AA5692EBF}"/>
                </a:ext>
              </a:extLst>
            </p:cNvPr>
            <p:cNvSpPr/>
            <p:nvPr/>
          </p:nvSpPr>
          <p:spPr>
            <a:xfrm>
              <a:off x="1419071" y="1271016"/>
              <a:ext cx="83274" cy="55516"/>
            </a:xfrm>
            <a:custGeom>
              <a:avLst/>
              <a:gdLst>
                <a:gd name="connsiteX0" fmla="*/ 0 w 82867"/>
                <a:gd name="connsiteY0" fmla="*/ 0 h 55245"/>
                <a:gd name="connsiteX1" fmla="*/ 82867 w 82867"/>
                <a:gd name="connsiteY1" fmla="*/ 0 h 55245"/>
                <a:gd name="connsiteX2" fmla="*/ 82867 w 82867"/>
                <a:gd name="connsiteY2" fmla="*/ 55245 h 55245"/>
                <a:gd name="connsiteX3" fmla="*/ 0 w 82867"/>
                <a:gd name="connsiteY3" fmla="*/ 55245 h 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867" h="55245">
                  <a:moveTo>
                    <a:pt x="0" y="0"/>
                  </a:moveTo>
                  <a:lnTo>
                    <a:pt x="82867" y="0"/>
                  </a:lnTo>
                  <a:lnTo>
                    <a:pt x="82867" y="55245"/>
                  </a:lnTo>
                  <a:lnTo>
                    <a:pt x="0" y="5524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33">
              <a:extLst>
                <a:ext uri="{FF2B5EF4-FFF2-40B4-BE49-F238E27FC236}">
                  <a16:creationId xmlns:a16="http://schemas.microsoft.com/office/drawing/2014/main" id="{4AFFE5BC-A0C5-3DE8-DBAD-288F32D2C988}"/>
                </a:ext>
              </a:extLst>
            </p:cNvPr>
            <p:cNvSpPr/>
            <p:nvPr/>
          </p:nvSpPr>
          <p:spPr>
            <a:xfrm>
              <a:off x="1535846" y="1278673"/>
              <a:ext cx="176119" cy="330224"/>
            </a:xfrm>
            <a:custGeom>
              <a:avLst/>
              <a:gdLst>
                <a:gd name="connsiteX0" fmla="*/ 135255 w 175259"/>
                <a:gd name="connsiteY0" fmla="*/ 261938 h 328612"/>
                <a:gd name="connsiteX1" fmla="*/ 175260 w 175259"/>
                <a:gd name="connsiteY1" fmla="*/ 253365 h 328612"/>
                <a:gd name="connsiteX2" fmla="*/ 175260 w 175259"/>
                <a:gd name="connsiteY2" fmla="*/ 315278 h 328612"/>
                <a:gd name="connsiteX3" fmla="*/ 142875 w 175259"/>
                <a:gd name="connsiteY3" fmla="*/ 325755 h 328612"/>
                <a:gd name="connsiteX4" fmla="*/ 107632 w 175259"/>
                <a:gd name="connsiteY4" fmla="*/ 328613 h 328612"/>
                <a:gd name="connsiteX5" fmla="*/ 47625 w 175259"/>
                <a:gd name="connsiteY5" fmla="*/ 307658 h 328612"/>
                <a:gd name="connsiteX6" fmla="*/ 29527 w 175259"/>
                <a:gd name="connsiteY6" fmla="*/ 242888 h 328612"/>
                <a:gd name="connsiteX7" fmla="*/ 29527 w 175259"/>
                <a:gd name="connsiteY7" fmla="*/ 140970 h 328612"/>
                <a:gd name="connsiteX8" fmla="*/ 0 w 175259"/>
                <a:gd name="connsiteY8" fmla="*/ 140970 h 328612"/>
                <a:gd name="connsiteX9" fmla="*/ 0 w 175259"/>
                <a:gd name="connsiteY9" fmla="*/ 77153 h 328612"/>
                <a:gd name="connsiteX10" fmla="*/ 29527 w 175259"/>
                <a:gd name="connsiteY10" fmla="*/ 77153 h 328612"/>
                <a:gd name="connsiteX11" fmla="*/ 29527 w 175259"/>
                <a:gd name="connsiteY11" fmla="*/ 14288 h 328612"/>
                <a:gd name="connsiteX12" fmla="*/ 113347 w 175259"/>
                <a:gd name="connsiteY12" fmla="*/ 0 h 328612"/>
                <a:gd name="connsiteX13" fmla="*/ 113347 w 175259"/>
                <a:gd name="connsiteY13" fmla="*/ 77153 h 328612"/>
                <a:gd name="connsiteX14" fmla="*/ 166688 w 175259"/>
                <a:gd name="connsiteY14" fmla="*/ 77153 h 328612"/>
                <a:gd name="connsiteX15" fmla="*/ 166688 w 175259"/>
                <a:gd name="connsiteY15" fmla="*/ 140970 h 328612"/>
                <a:gd name="connsiteX16" fmla="*/ 113347 w 175259"/>
                <a:gd name="connsiteY16" fmla="*/ 140970 h 328612"/>
                <a:gd name="connsiteX17" fmla="*/ 113347 w 175259"/>
                <a:gd name="connsiteY17" fmla="*/ 237173 h 328612"/>
                <a:gd name="connsiteX18" fmla="*/ 135255 w 175259"/>
                <a:gd name="connsiteY18" fmla="*/ 261938 h 32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5259" h="328612">
                  <a:moveTo>
                    <a:pt x="135255" y="261938"/>
                  </a:moveTo>
                  <a:cubicBezTo>
                    <a:pt x="146685" y="261938"/>
                    <a:pt x="160020" y="259080"/>
                    <a:pt x="175260" y="253365"/>
                  </a:cubicBezTo>
                  <a:lnTo>
                    <a:pt x="175260" y="315278"/>
                  </a:lnTo>
                  <a:cubicBezTo>
                    <a:pt x="163830" y="320040"/>
                    <a:pt x="153352" y="323850"/>
                    <a:pt x="142875" y="325755"/>
                  </a:cubicBezTo>
                  <a:cubicBezTo>
                    <a:pt x="132397" y="327660"/>
                    <a:pt x="120967" y="328613"/>
                    <a:pt x="107632" y="328613"/>
                  </a:cubicBezTo>
                  <a:cubicBezTo>
                    <a:pt x="80010" y="328613"/>
                    <a:pt x="60007" y="321945"/>
                    <a:pt x="47625" y="307658"/>
                  </a:cubicBezTo>
                  <a:cubicBezTo>
                    <a:pt x="35242" y="293370"/>
                    <a:pt x="29527" y="272415"/>
                    <a:pt x="29527" y="242888"/>
                  </a:cubicBezTo>
                  <a:lnTo>
                    <a:pt x="29527" y="140970"/>
                  </a:lnTo>
                  <a:lnTo>
                    <a:pt x="0" y="140970"/>
                  </a:lnTo>
                  <a:lnTo>
                    <a:pt x="0" y="77153"/>
                  </a:lnTo>
                  <a:lnTo>
                    <a:pt x="29527" y="77153"/>
                  </a:lnTo>
                  <a:lnTo>
                    <a:pt x="29527" y="14288"/>
                  </a:lnTo>
                  <a:lnTo>
                    <a:pt x="113347" y="0"/>
                  </a:lnTo>
                  <a:lnTo>
                    <a:pt x="113347" y="77153"/>
                  </a:lnTo>
                  <a:lnTo>
                    <a:pt x="166688" y="77153"/>
                  </a:lnTo>
                  <a:lnTo>
                    <a:pt x="166688" y="140970"/>
                  </a:lnTo>
                  <a:lnTo>
                    <a:pt x="113347" y="140970"/>
                  </a:lnTo>
                  <a:lnTo>
                    <a:pt x="113347" y="237173"/>
                  </a:lnTo>
                  <a:cubicBezTo>
                    <a:pt x="113347" y="253365"/>
                    <a:pt x="120015" y="261938"/>
                    <a:pt x="135255" y="261938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BF5FA00A-27FC-5A25-586C-009873496287}"/>
                </a:ext>
              </a:extLst>
            </p:cNvPr>
            <p:cNvSpPr/>
            <p:nvPr/>
          </p:nvSpPr>
          <p:spPr>
            <a:xfrm>
              <a:off x="1729196" y="1278673"/>
              <a:ext cx="176119" cy="330224"/>
            </a:xfrm>
            <a:custGeom>
              <a:avLst/>
              <a:gdLst>
                <a:gd name="connsiteX0" fmla="*/ 135255 w 175259"/>
                <a:gd name="connsiteY0" fmla="*/ 261938 h 328612"/>
                <a:gd name="connsiteX1" fmla="*/ 175260 w 175259"/>
                <a:gd name="connsiteY1" fmla="*/ 253365 h 328612"/>
                <a:gd name="connsiteX2" fmla="*/ 175260 w 175259"/>
                <a:gd name="connsiteY2" fmla="*/ 315278 h 328612"/>
                <a:gd name="connsiteX3" fmla="*/ 142875 w 175259"/>
                <a:gd name="connsiteY3" fmla="*/ 325755 h 328612"/>
                <a:gd name="connsiteX4" fmla="*/ 107633 w 175259"/>
                <a:gd name="connsiteY4" fmla="*/ 328613 h 328612"/>
                <a:gd name="connsiteX5" fmla="*/ 47625 w 175259"/>
                <a:gd name="connsiteY5" fmla="*/ 307658 h 328612"/>
                <a:gd name="connsiteX6" fmla="*/ 29527 w 175259"/>
                <a:gd name="connsiteY6" fmla="*/ 242888 h 328612"/>
                <a:gd name="connsiteX7" fmla="*/ 29527 w 175259"/>
                <a:gd name="connsiteY7" fmla="*/ 140970 h 328612"/>
                <a:gd name="connsiteX8" fmla="*/ 0 w 175259"/>
                <a:gd name="connsiteY8" fmla="*/ 140970 h 328612"/>
                <a:gd name="connsiteX9" fmla="*/ 0 w 175259"/>
                <a:gd name="connsiteY9" fmla="*/ 77153 h 328612"/>
                <a:gd name="connsiteX10" fmla="*/ 29527 w 175259"/>
                <a:gd name="connsiteY10" fmla="*/ 77153 h 328612"/>
                <a:gd name="connsiteX11" fmla="*/ 29527 w 175259"/>
                <a:gd name="connsiteY11" fmla="*/ 13335 h 328612"/>
                <a:gd name="connsiteX12" fmla="*/ 113347 w 175259"/>
                <a:gd name="connsiteY12" fmla="*/ 0 h 328612"/>
                <a:gd name="connsiteX13" fmla="*/ 113347 w 175259"/>
                <a:gd name="connsiteY13" fmla="*/ 77153 h 328612"/>
                <a:gd name="connsiteX14" fmla="*/ 166688 w 175259"/>
                <a:gd name="connsiteY14" fmla="*/ 77153 h 328612"/>
                <a:gd name="connsiteX15" fmla="*/ 166688 w 175259"/>
                <a:gd name="connsiteY15" fmla="*/ 140970 h 328612"/>
                <a:gd name="connsiteX16" fmla="*/ 113347 w 175259"/>
                <a:gd name="connsiteY16" fmla="*/ 140970 h 328612"/>
                <a:gd name="connsiteX17" fmla="*/ 113347 w 175259"/>
                <a:gd name="connsiteY17" fmla="*/ 237173 h 328612"/>
                <a:gd name="connsiteX18" fmla="*/ 135255 w 175259"/>
                <a:gd name="connsiteY18" fmla="*/ 261938 h 32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5259" h="328612">
                  <a:moveTo>
                    <a:pt x="135255" y="261938"/>
                  </a:moveTo>
                  <a:cubicBezTo>
                    <a:pt x="146685" y="261938"/>
                    <a:pt x="160020" y="259080"/>
                    <a:pt x="175260" y="253365"/>
                  </a:cubicBezTo>
                  <a:lnTo>
                    <a:pt x="175260" y="315278"/>
                  </a:lnTo>
                  <a:cubicBezTo>
                    <a:pt x="163830" y="320040"/>
                    <a:pt x="153352" y="323850"/>
                    <a:pt x="142875" y="325755"/>
                  </a:cubicBezTo>
                  <a:cubicBezTo>
                    <a:pt x="132397" y="327660"/>
                    <a:pt x="120967" y="328613"/>
                    <a:pt x="107633" y="328613"/>
                  </a:cubicBezTo>
                  <a:cubicBezTo>
                    <a:pt x="80010" y="328613"/>
                    <a:pt x="60008" y="321945"/>
                    <a:pt x="47625" y="307658"/>
                  </a:cubicBezTo>
                  <a:cubicBezTo>
                    <a:pt x="35242" y="293370"/>
                    <a:pt x="29527" y="272415"/>
                    <a:pt x="29527" y="242888"/>
                  </a:cubicBezTo>
                  <a:lnTo>
                    <a:pt x="29527" y="140970"/>
                  </a:lnTo>
                  <a:lnTo>
                    <a:pt x="0" y="140970"/>
                  </a:lnTo>
                  <a:lnTo>
                    <a:pt x="0" y="77153"/>
                  </a:lnTo>
                  <a:lnTo>
                    <a:pt x="29527" y="77153"/>
                  </a:lnTo>
                  <a:lnTo>
                    <a:pt x="29527" y="13335"/>
                  </a:lnTo>
                  <a:lnTo>
                    <a:pt x="113347" y="0"/>
                  </a:lnTo>
                  <a:lnTo>
                    <a:pt x="113347" y="77153"/>
                  </a:lnTo>
                  <a:lnTo>
                    <a:pt x="166688" y="77153"/>
                  </a:lnTo>
                  <a:lnTo>
                    <a:pt x="166688" y="140970"/>
                  </a:lnTo>
                  <a:lnTo>
                    <a:pt x="113347" y="140970"/>
                  </a:lnTo>
                  <a:lnTo>
                    <a:pt x="113347" y="237173"/>
                  </a:lnTo>
                  <a:cubicBezTo>
                    <a:pt x="113347" y="253365"/>
                    <a:pt x="120015" y="261938"/>
                    <a:pt x="135255" y="261938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993A6F88-1B91-0CE3-35F9-0C2FE82F5F6C}"/>
                </a:ext>
              </a:extLst>
            </p:cNvPr>
            <p:cNvSpPr/>
            <p:nvPr/>
          </p:nvSpPr>
          <p:spPr>
            <a:xfrm>
              <a:off x="1926374" y="1352375"/>
              <a:ext cx="233550" cy="256523"/>
            </a:xfrm>
            <a:custGeom>
              <a:avLst/>
              <a:gdLst>
                <a:gd name="connsiteX0" fmla="*/ 201930 w 232409"/>
                <a:gd name="connsiteY0" fmla="*/ 29528 h 255270"/>
                <a:gd name="connsiteX1" fmla="*/ 118110 w 232409"/>
                <a:gd name="connsiteY1" fmla="*/ 0 h 255270"/>
                <a:gd name="connsiteX2" fmla="*/ 30480 w 232409"/>
                <a:gd name="connsiteY2" fmla="*/ 33338 h 255270"/>
                <a:gd name="connsiteX3" fmla="*/ 0 w 232409"/>
                <a:gd name="connsiteY3" fmla="*/ 129540 h 255270"/>
                <a:gd name="connsiteX4" fmla="*/ 33338 w 232409"/>
                <a:gd name="connsiteY4" fmla="*/ 222885 h 255270"/>
                <a:gd name="connsiteX5" fmla="*/ 126683 w 232409"/>
                <a:gd name="connsiteY5" fmla="*/ 255270 h 255270"/>
                <a:gd name="connsiteX6" fmla="*/ 176213 w 232409"/>
                <a:gd name="connsiteY6" fmla="*/ 251460 h 255270"/>
                <a:gd name="connsiteX7" fmla="*/ 216218 w 232409"/>
                <a:gd name="connsiteY7" fmla="*/ 237173 h 255270"/>
                <a:gd name="connsiteX8" fmla="*/ 203835 w 232409"/>
                <a:gd name="connsiteY8" fmla="*/ 181928 h 255270"/>
                <a:gd name="connsiteX9" fmla="*/ 177165 w 232409"/>
                <a:gd name="connsiteY9" fmla="*/ 190500 h 255270"/>
                <a:gd name="connsiteX10" fmla="*/ 137160 w 232409"/>
                <a:gd name="connsiteY10" fmla="*/ 194310 h 255270"/>
                <a:gd name="connsiteX11" fmla="*/ 99060 w 232409"/>
                <a:gd name="connsiteY11" fmla="*/ 182880 h 255270"/>
                <a:gd name="connsiteX12" fmla="*/ 83820 w 232409"/>
                <a:gd name="connsiteY12" fmla="*/ 150495 h 255270"/>
                <a:gd name="connsiteX13" fmla="*/ 232410 w 232409"/>
                <a:gd name="connsiteY13" fmla="*/ 150495 h 255270"/>
                <a:gd name="connsiteX14" fmla="*/ 232410 w 232409"/>
                <a:gd name="connsiteY14" fmla="*/ 112395 h 255270"/>
                <a:gd name="connsiteX15" fmla="*/ 201930 w 232409"/>
                <a:gd name="connsiteY15" fmla="*/ 29528 h 255270"/>
                <a:gd name="connsiteX16" fmla="*/ 83820 w 232409"/>
                <a:gd name="connsiteY16" fmla="*/ 97155 h 255270"/>
                <a:gd name="connsiteX17" fmla="*/ 95250 w 232409"/>
                <a:gd name="connsiteY17" fmla="*/ 67628 h 255270"/>
                <a:gd name="connsiteX18" fmla="*/ 120015 w 232409"/>
                <a:gd name="connsiteY18" fmla="*/ 58103 h 255270"/>
                <a:gd name="connsiteX19" fmla="*/ 145733 w 232409"/>
                <a:gd name="connsiteY19" fmla="*/ 68580 h 255270"/>
                <a:gd name="connsiteX20" fmla="*/ 155258 w 232409"/>
                <a:gd name="connsiteY20" fmla="*/ 97155 h 255270"/>
                <a:gd name="connsiteX21" fmla="*/ 83820 w 232409"/>
                <a:gd name="connsiteY21" fmla="*/ 97155 h 25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2409" h="255270">
                  <a:moveTo>
                    <a:pt x="201930" y="29528"/>
                  </a:moveTo>
                  <a:cubicBezTo>
                    <a:pt x="181928" y="10478"/>
                    <a:pt x="154305" y="0"/>
                    <a:pt x="118110" y="0"/>
                  </a:cubicBezTo>
                  <a:cubicBezTo>
                    <a:pt x="80010" y="0"/>
                    <a:pt x="50483" y="11430"/>
                    <a:pt x="30480" y="33338"/>
                  </a:cubicBezTo>
                  <a:cubicBezTo>
                    <a:pt x="9525" y="55245"/>
                    <a:pt x="0" y="87630"/>
                    <a:pt x="0" y="129540"/>
                  </a:cubicBezTo>
                  <a:cubicBezTo>
                    <a:pt x="0" y="169545"/>
                    <a:pt x="11430" y="200978"/>
                    <a:pt x="33338" y="222885"/>
                  </a:cubicBezTo>
                  <a:cubicBezTo>
                    <a:pt x="55245" y="244793"/>
                    <a:pt x="86678" y="255270"/>
                    <a:pt x="126683" y="255270"/>
                  </a:cubicBezTo>
                  <a:cubicBezTo>
                    <a:pt x="145733" y="255270"/>
                    <a:pt x="162878" y="254318"/>
                    <a:pt x="176213" y="251460"/>
                  </a:cubicBezTo>
                  <a:cubicBezTo>
                    <a:pt x="189547" y="248603"/>
                    <a:pt x="203835" y="243840"/>
                    <a:pt x="216218" y="237173"/>
                  </a:cubicBezTo>
                  <a:lnTo>
                    <a:pt x="203835" y="181928"/>
                  </a:lnTo>
                  <a:cubicBezTo>
                    <a:pt x="194310" y="185738"/>
                    <a:pt x="185738" y="188595"/>
                    <a:pt x="177165" y="190500"/>
                  </a:cubicBezTo>
                  <a:cubicBezTo>
                    <a:pt x="164783" y="193358"/>
                    <a:pt x="151447" y="194310"/>
                    <a:pt x="137160" y="194310"/>
                  </a:cubicBezTo>
                  <a:cubicBezTo>
                    <a:pt x="120968" y="194310"/>
                    <a:pt x="108585" y="190500"/>
                    <a:pt x="99060" y="182880"/>
                  </a:cubicBezTo>
                  <a:cubicBezTo>
                    <a:pt x="89535" y="175260"/>
                    <a:pt x="84772" y="163830"/>
                    <a:pt x="83820" y="150495"/>
                  </a:cubicBezTo>
                  <a:lnTo>
                    <a:pt x="232410" y="150495"/>
                  </a:lnTo>
                  <a:lnTo>
                    <a:pt x="232410" y="112395"/>
                  </a:lnTo>
                  <a:cubicBezTo>
                    <a:pt x="231458" y="76200"/>
                    <a:pt x="220980" y="48578"/>
                    <a:pt x="201930" y="29528"/>
                  </a:cubicBezTo>
                  <a:moveTo>
                    <a:pt x="83820" y="97155"/>
                  </a:moveTo>
                  <a:cubicBezTo>
                    <a:pt x="84772" y="83820"/>
                    <a:pt x="88583" y="73343"/>
                    <a:pt x="95250" y="67628"/>
                  </a:cubicBezTo>
                  <a:cubicBezTo>
                    <a:pt x="101918" y="60960"/>
                    <a:pt x="110490" y="58103"/>
                    <a:pt x="120015" y="58103"/>
                  </a:cubicBezTo>
                  <a:cubicBezTo>
                    <a:pt x="130493" y="58103"/>
                    <a:pt x="139065" y="61913"/>
                    <a:pt x="145733" y="68580"/>
                  </a:cubicBezTo>
                  <a:cubicBezTo>
                    <a:pt x="152400" y="75248"/>
                    <a:pt x="155258" y="84773"/>
                    <a:pt x="155258" y="97155"/>
                  </a:cubicBezTo>
                  <a:lnTo>
                    <a:pt x="83820" y="9715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69CC2123-861B-BDB0-1C31-0FB63E154596}"/>
                </a:ext>
              </a:extLst>
            </p:cNvPr>
            <p:cNvSpPr/>
            <p:nvPr/>
          </p:nvSpPr>
          <p:spPr>
            <a:xfrm>
              <a:off x="763406" y="1352375"/>
              <a:ext cx="233551" cy="256523"/>
            </a:xfrm>
            <a:custGeom>
              <a:avLst/>
              <a:gdLst>
                <a:gd name="connsiteX0" fmla="*/ 201930 w 232410"/>
                <a:gd name="connsiteY0" fmla="*/ 29528 h 255270"/>
                <a:gd name="connsiteX1" fmla="*/ 118110 w 232410"/>
                <a:gd name="connsiteY1" fmla="*/ 0 h 255270"/>
                <a:gd name="connsiteX2" fmla="*/ 30480 w 232410"/>
                <a:gd name="connsiteY2" fmla="*/ 33338 h 255270"/>
                <a:gd name="connsiteX3" fmla="*/ 0 w 232410"/>
                <a:gd name="connsiteY3" fmla="*/ 129540 h 255270"/>
                <a:gd name="connsiteX4" fmla="*/ 33338 w 232410"/>
                <a:gd name="connsiteY4" fmla="*/ 222885 h 255270"/>
                <a:gd name="connsiteX5" fmla="*/ 126683 w 232410"/>
                <a:gd name="connsiteY5" fmla="*/ 255270 h 255270"/>
                <a:gd name="connsiteX6" fmla="*/ 176213 w 232410"/>
                <a:gd name="connsiteY6" fmla="*/ 251460 h 255270"/>
                <a:gd name="connsiteX7" fmla="*/ 216218 w 232410"/>
                <a:gd name="connsiteY7" fmla="*/ 237173 h 255270"/>
                <a:gd name="connsiteX8" fmla="*/ 203835 w 232410"/>
                <a:gd name="connsiteY8" fmla="*/ 181928 h 255270"/>
                <a:gd name="connsiteX9" fmla="*/ 177165 w 232410"/>
                <a:gd name="connsiteY9" fmla="*/ 190500 h 255270"/>
                <a:gd name="connsiteX10" fmla="*/ 137160 w 232410"/>
                <a:gd name="connsiteY10" fmla="*/ 194310 h 255270"/>
                <a:gd name="connsiteX11" fmla="*/ 99060 w 232410"/>
                <a:gd name="connsiteY11" fmla="*/ 182880 h 255270"/>
                <a:gd name="connsiteX12" fmla="*/ 83820 w 232410"/>
                <a:gd name="connsiteY12" fmla="*/ 150495 h 255270"/>
                <a:gd name="connsiteX13" fmla="*/ 232410 w 232410"/>
                <a:gd name="connsiteY13" fmla="*/ 150495 h 255270"/>
                <a:gd name="connsiteX14" fmla="*/ 232410 w 232410"/>
                <a:gd name="connsiteY14" fmla="*/ 112395 h 255270"/>
                <a:gd name="connsiteX15" fmla="*/ 201930 w 232410"/>
                <a:gd name="connsiteY15" fmla="*/ 29528 h 255270"/>
                <a:gd name="connsiteX16" fmla="*/ 84773 w 232410"/>
                <a:gd name="connsiteY16" fmla="*/ 97155 h 255270"/>
                <a:gd name="connsiteX17" fmla="*/ 96203 w 232410"/>
                <a:gd name="connsiteY17" fmla="*/ 67628 h 255270"/>
                <a:gd name="connsiteX18" fmla="*/ 120968 w 232410"/>
                <a:gd name="connsiteY18" fmla="*/ 58103 h 255270"/>
                <a:gd name="connsiteX19" fmla="*/ 146685 w 232410"/>
                <a:gd name="connsiteY19" fmla="*/ 68580 h 255270"/>
                <a:gd name="connsiteX20" fmla="*/ 156210 w 232410"/>
                <a:gd name="connsiteY20" fmla="*/ 97155 h 255270"/>
                <a:gd name="connsiteX21" fmla="*/ 84773 w 232410"/>
                <a:gd name="connsiteY21" fmla="*/ 97155 h 25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2410" h="255270">
                  <a:moveTo>
                    <a:pt x="201930" y="29528"/>
                  </a:moveTo>
                  <a:cubicBezTo>
                    <a:pt x="181928" y="10478"/>
                    <a:pt x="154305" y="0"/>
                    <a:pt x="118110" y="0"/>
                  </a:cubicBezTo>
                  <a:cubicBezTo>
                    <a:pt x="80010" y="0"/>
                    <a:pt x="50483" y="11430"/>
                    <a:pt x="30480" y="33338"/>
                  </a:cubicBezTo>
                  <a:cubicBezTo>
                    <a:pt x="9525" y="55245"/>
                    <a:pt x="0" y="87630"/>
                    <a:pt x="0" y="129540"/>
                  </a:cubicBezTo>
                  <a:cubicBezTo>
                    <a:pt x="0" y="169545"/>
                    <a:pt x="11430" y="200978"/>
                    <a:pt x="33338" y="222885"/>
                  </a:cubicBezTo>
                  <a:cubicBezTo>
                    <a:pt x="55245" y="244793"/>
                    <a:pt x="86678" y="255270"/>
                    <a:pt x="126683" y="255270"/>
                  </a:cubicBezTo>
                  <a:cubicBezTo>
                    <a:pt x="145733" y="255270"/>
                    <a:pt x="162878" y="254318"/>
                    <a:pt x="176213" y="251460"/>
                  </a:cubicBezTo>
                  <a:cubicBezTo>
                    <a:pt x="189548" y="248603"/>
                    <a:pt x="203835" y="243840"/>
                    <a:pt x="216218" y="237173"/>
                  </a:cubicBezTo>
                  <a:lnTo>
                    <a:pt x="203835" y="181928"/>
                  </a:lnTo>
                  <a:cubicBezTo>
                    <a:pt x="194310" y="185738"/>
                    <a:pt x="185738" y="188595"/>
                    <a:pt x="177165" y="190500"/>
                  </a:cubicBezTo>
                  <a:cubicBezTo>
                    <a:pt x="164783" y="193358"/>
                    <a:pt x="151448" y="194310"/>
                    <a:pt x="137160" y="194310"/>
                  </a:cubicBezTo>
                  <a:cubicBezTo>
                    <a:pt x="120968" y="194310"/>
                    <a:pt x="108585" y="190500"/>
                    <a:pt x="99060" y="182880"/>
                  </a:cubicBezTo>
                  <a:cubicBezTo>
                    <a:pt x="89535" y="175260"/>
                    <a:pt x="84773" y="163830"/>
                    <a:pt x="83820" y="150495"/>
                  </a:cubicBezTo>
                  <a:lnTo>
                    <a:pt x="232410" y="150495"/>
                  </a:lnTo>
                  <a:lnTo>
                    <a:pt x="232410" y="112395"/>
                  </a:lnTo>
                  <a:cubicBezTo>
                    <a:pt x="231458" y="76200"/>
                    <a:pt x="221933" y="48578"/>
                    <a:pt x="201930" y="29528"/>
                  </a:cubicBezTo>
                  <a:moveTo>
                    <a:pt x="84773" y="97155"/>
                  </a:moveTo>
                  <a:cubicBezTo>
                    <a:pt x="85725" y="83820"/>
                    <a:pt x="89535" y="73343"/>
                    <a:pt x="96203" y="67628"/>
                  </a:cubicBezTo>
                  <a:cubicBezTo>
                    <a:pt x="102870" y="60960"/>
                    <a:pt x="111443" y="58103"/>
                    <a:pt x="120968" y="58103"/>
                  </a:cubicBezTo>
                  <a:cubicBezTo>
                    <a:pt x="131445" y="58103"/>
                    <a:pt x="140018" y="61913"/>
                    <a:pt x="146685" y="68580"/>
                  </a:cubicBezTo>
                  <a:cubicBezTo>
                    <a:pt x="153353" y="75248"/>
                    <a:pt x="156210" y="84773"/>
                    <a:pt x="156210" y="97155"/>
                  </a:cubicBezTo>
                  <a:lnTo>
                    <a:pt x="84773" y="9715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" name="Graphic 4">
              <a:extLst>
                <a:ext uri="{FF2B5EF4-FFF2-40B4-BE49-F238E27FC236}">
                  <a16:creationId xmlns:a16="http://schemas.microsoft.com/office/drawing/2014/main" id="{D3AC4971-7349-B173-3ECA-6F0D7C429310}"/>
                </a:ext>
              </a:extLst>
            </p:cNvPr>
            <p:cNvGrpSpPr/>
            <p:nvPr/>
          </p:nvGrpSpPr>
          <p:grpSpPr>
            <a:xfrm>
              <a:off x="462855" y="1672072"/>
              <a:ext cx="914101" cy="438386"/>
              <a:chOff x="1079098" y="2299220"/>
              <a:chExt cx="909637" cy="436245"/>
            </a:xfrm>
            <a:solidFill>
              <a:schemeClr val="tx1"/>
            </a:solidFill>
          </p:grpSpPr>
          <p:sp>
            <p:nvSpPr>
              <p:cNvPr id="15" name="Freeform 38">
                <a:extLst>
                  <a:ext uri="{FF2B5EF4-FFF2-40B4-BE49-F238E27FC236}">
                    <a16:creationId xmlns:a16="http://schemas.microsoft.com/office/drawing/2014/main" id="{81263F05-23DD-5BD1-22C7-D779DCF0323C}"/>
                  </a:ext>
                </a:extLst>
              </p:cNvPr>
              <p:cNvSpPr/>
              <p:nvPr/>
            </p:nvSpPr>
            <p:spPr>
              <a:xfrm>
                <a:off x="1079098" y="2319222"/>
                <a:ext cx="171450" cy="313372"/>
              </a:xfrm>
              <a:custGeom>
                <a:avLst/>
                <a:gdLst>
                  <a:gd name="connsiteX0" fmla="*/ 0 w 171450"/>
                  <a:gd name="connsiteY0" fmla="*/ 312420 h 313372"/>
                  <a:gd name="connsiteX1" fmla="*/ 0 w 171450"/>
                  <a:gd name="connsiteY1" fmla="*/ 0 h 313372"/>
                  <a:gd name="connsiteX2" fmla="*/ 21908 w 171450"/>
                  <a:gd name="connsiteY2" fmla="*/ 0 h 313372"/>
                  <a:gd name="connsiteX3" fmla="*/ 21908 w 171450"/>
                  <a:gd name="connsiteY3" fmla="*/ 292418 h 313372"/>
                  <a:gd name="connsiteX4" fmla="*/ 171450 w 171450"/>
                  <a:gd name="connsiteY4" fmla="*/ 292418 h 313372"/>
                  <a:gd name="connsiteX5" fmla="*/ 171450 w 171450"/>
                  <a:gd name="connsiteY5" fmla="*/ 313373 h 313372"/>
                  <a:gd name="connsiteX6" fmla="*/ 0 w 171450"/>
                  <a:gd name="connsiteY6" fmla="*/ 313373 h 31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50" h="313372">
                    <a:moveTo>
                      <a:pt x="0" y="312420"/>
                    </a:moveTo>
                    <a:lnTo>
                      <a:pt x="0" y="0"/>
                    </a:lnTo>
                    <a:lnTo>
                      <a:pt x="21908" y="0"/>
                    </a:lnTo>
                    <a:lnTo>
                      <a:pt x="21908" y="292418"/>
                    </a:lnTo>
                    <a:lnTo>
                      <a:pt x="171450" y="292418"/>
                    </a:lnTo>
                    <a:lnTo>
                      <a:pt x="171450" y="313373"/>
                    </a:lnTo>
                    <a:lnTo>
                      <a:pt x="0" y="3133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39">
                <a:extLst>
                  <a:ext uri="{FF2B5EF4-FFF2-40B4-BE49-F238E27FC236}">
                    <a16:creationId xmlns:a16="http://schemas.microsoft.com/office/drawing/2014/main" id="{29D3672E-4357-147D-168A-99419C9F8258}"/>
                  </a:ext>
                </a:extLst>
              </p:cNvPr>
              <p:cNvSpPr/>
              <p:nvPr/>
            </p:nvSpPr>
            <p:spPr>
              <a:xfrm>
                <a:off x="1273408" y="2393517"/>
                <a:ext cx="189547" cy="241935"/>
              </a:xfrm>
              <a:custGeom>
                <a:avLst/>
                <a:gdLst>
                  <a:gd name="connsiteX0" fmla="*/ 107632 w 189547"/>
                  <a:gd name="connsiteY0" fmla="*/ 241935 h 241935"/>
                  <a:gd name="connsiteX1" fmla="*/ 28575 w 189547"/>
                  <a:gd name="connsiteY1" fmla="*/ 210503 h 241935"/>
                  <a:gd name="connsiteX2" fmla="*/ 0 w 189547"/>
                  <a:gd name="connsiteY2" fmla="*/ 122873 h 241935"/>
                  <a:gd name="connsiteX3" fmla="*/ 27623 w 189547"/>
                  <a:gd name="connsiteY3" fmla="*/ 33338 h 241935"/>
                  <a:gd name="connsiteX4" fmla="*/ 100965 w 189547"/>
                  <a:gd name="connsiteY4" fmla="*/ 0 h 241935"/>
                  <a:gd name="connsiteX5" fmla="*/ 165735 w 189547"/>
                  <a:gd name="connsiteY5" fmla="*/ 28575 h 241935"/>
                  <a:gd name="connsiteX6" fmla="*/ 189548 w 189547"/>
                  <a:gd name="connsiteY6" fmla="*/ 106680 h 241935"/>
                  <a:gd name="connsiteX7" fmla="*/ 189548 w 189547"/>
                  <a:gd name="connsiteY7" fmla="*/ 123825 h 241935"/>
                  <a:gd name="connsiteX8" fmla="*/ 21907 w 189547"/>
                  <a:gd name="connsiteY8" fmla="*/ 123825 h 241935"/>
                  <a:gd name="connsiteX9" fmla="*/ 43815 w 189547"/>
                  <a:gd name="connsiteY9" fmla="*/ 197167 h 241935"/>
                  <a:gd name="connsiteX10" fmla="*/ 106680 w 189547"/>
                  <a:gd name="connsiteY10" fmla="*/ 222885 h 241935"/>
                  <a:gd name="connsiteX11" fmla="*/ 141923 w 189547"/>
                  <a:gd name="connsiteY11" fmla="*/ 220028 h 241935"/>
                  <a:gd name="connsiteX12" fmla="*/ 180023 w 189547"/>
                  <a:gd name="connsiteY12" fmla="*/ 207645 h 241935"/>
                  <a:gd name="connsiteX13" fmla="*/ 180023 w 189547"/>
                  <a:gd name="connsiteY13" fmla="*/ 226695 h 241935"/>
                  <a:gd name="connsiteX14" fmla="*/ 143827 w 189547"/>
                  <a:gd name="connsiteY14" fmla="*/ 238125 h 241935"/>
                  <a:gd name="connsiteX15" fmla="*/ 107632 w 189547"/>
                  <a:gd name="connsiteY15" fmla="*/ 241935 h 241935"/>
                  <a:gd name="connsiteX16" fmla="*/ 101918 w 189547"/>
                  <a:gd name="connsiteY16" fmla="*/ 20003 h 241935"/>
                  <a:gd name="connsiteX17" fmla="*/ 47625 w 189547"/>
                  <a:gd name="connsiteY17" fmla="*/ 41910 h 241935"/>
                  <a:gd name="connsiteX18" fmla="*/ 23813 w 189547"/>
                  <a:gd name="connsiteY18" fmla="*/ 105728 h 241935"/>
                  <a:gd name="connsiteX19" fmla="*/ 167640 w 189547"/>
                  <a:gd name="connsiteY19" fmla="*/ 105728 h 241935"/>
                  <a:gd name="connsiteX20" fmla="*/ 150495 w 189547"/>
                  <a:gd name="connsiteY20" fmla="*/ 42863 h 241935"/>
                  <a:gd name="connsiteX21" fmla="*/ 101918 w 189547"/>
                  <a:gd name="connsiteY21" fmla="*/ 20003 h 241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547" h="241935">
                    <a:moveTo>
                      <a:pt x="107632" y="241935"/>
                    </a:moveTo>
                    <a:cubicBezTo>
                      <a:pt x="74295" y="241935"/>
                      <a:pt x="47625" y="231458"/>
                      <a:pt x="28575" y="210503"/>
                    </a:cubicBezTo>
                    <a:cubicBezTo>
                      <a:pt x="9525" y="189548"/>
                      <a:pt x="0" y="160973"/>
                      <a:pt x="0" y="122873"/>
                    </a:cubicBezTo>
                    <a:cubicBezTo>
                      <a:pt x="0" y="85725"/>
                      <a:pt x="9525" y="56198"/>
                      <a:pt x="27623" y="33338"/>
                    </a:cubicBezTo>
                    <a:cubicBezTo>
                      <a:pt x="45720" y="11430"/>
                      <a:pt x="70485" y="0"/>
                      <a:pt x="100965" y="0"/>
                    </a:cubicBezTo>
                    <a:cubicBezTo>
                      <a:pt x="128587" y="0"/>
                      <a:pt x="149543" y="9525"/>
                      <a:pt x="165735" y="28575"/>
                    </a:cubicBezTo>
                    <a:cubicBezTo>
                      <a:pt x="181927" y="47625"/>
                      <a:pt x="189548" y="73342"/>
                      <a:pt x="189548" y="106680"/>
                    </a:cubicBezTo>
                    <a:lnTo>
                      <a:pt x="189548" y="123825"/>
                    </a:lnTo>
                    <a:lnTo>
                      <a:pt x="21907" y="123825"/>
                    </a:lnTo>
                    <a:cubicBezTo>
                      <a:pt x="21907" y="156210"/>
                      <a:pt x="29527" y="180023"/>
                      <a:pt x="43815" y="197167"/>
                    </a:cubicBezTo>
                    <a:cubicBezTo>
                      <a:pt x="58102" y="214313"/>
                      <a:pt x="79057" y="222885"/>
                      <a:pt x="106680" y="222885"/>
                    </a:cubicBezTo>
                    <a:cubicBezTo>
                      <a:pt x="120015" y="222885"/>
                      <a:pt x="131445" y="221933"/>
                      <a:pt x="141923" y="220028"/>
                    </a:cubicBezTo>
                    <a:cubicBezTo>
                      <a:pt x="152400" y="218123"/>
                      <a:pt x="164782" y="214313"/>
                      <a:pt x="180023" y="207645"/>
                    </a:cubicBezTo>
                    <a:lnTo>
                      <a:pt x="180023" y="226695"/>
                    </a:lnTo>
                    <a:cubicBezTo>
                      <a:pt x="166687" y="232410"/>
                      <a:pt x="154305" y="236220"/>
                      <a:pt x="143827" y="238125"/>
                    </a:cubicBezTo>
                    <a:cubicBezTo>
                      <a:pt x="133350" y="240983"/>
                      <a:pt x="121920" y="241935"/>
                      <a:pt x="107632" y="241935"/>
                    </a:cubicBezTo>
                    <a:close/>
                    <a:moveTo>
                      <a:pt x="101918" y="20003"/>
                    </a:moveTo>
                    <a:cubicBezTo>
                      <a:pt x="79057" y="20003"/>
                      <a:pt x="61913" y="27623"/>
                      <a:pt x="47625" y="41910"/>
                    </a:cubicBezTo>
                    <a:cubicBezTo>
                      <a:pt x="34290" y="57150"/>
                      <a:pt x="25717" y="78105"/>
                      <a:pt x="23813" y="105728"/>
                    </a:cubicBezTo>
                    <a:lnTo>
                      <a:pt x="167640" y="105728"/>
                    </a:lnTo>
                    <a:cubicBezTo>
                      <a:pt x="167640" y="79058"/>
                      <a:pt x="161925" y="58103"/>
                      <a:pt x="150495" y="42863"/>
                    </a:cubicBezTo>
                    <a:cubicBezTo>
                      <a:pt x="139065" y="26670"/>
                      <a:pt x="122873" y="20003"/>
                      <a:pt x="101918" y="20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" name="Freeform 40">
                <a:extLst>
                  <a:ext uri="{FF2B5EF4-FFF2-40B4-BE49-F238E27FC236}">
                    <a16:creationId xmlns:a16="http://schemas.microsoft.com/office/drawing/2014/main" id="{0A30D072-056D-2197-B3F7-285D284051E2}"/>
                  </a:ext>
                </a:extLst>
              </p:cNvPr>
              <p:cNvSpPr/>
              <p:nvPr/>
            </p:nvSpPr>
            <p:spPr>
              <a:xfrm>
                <a:off x="1493435" y="2392565"/>
                <a:ext cx="208597" cy="342900"/>
              </a:xfrm>
              <a:custGeom>
                <a:avLst/>
                <a:gdLst>
                  <a:gd name="connsiteX0" fmla="*/ 208597 w 208597"/>
                  <a:gd name="connsiteY0" fmla="*/ 5715 h 342900"/>
                  <a:gd name="connsiteX1" fmla="*/ 208597 w 208597"/>
                  <a:gd name="connsiteY1" fmla="*/ 20002 h 342900"/>
                  <a:gd name="connsiteX2" fmla="*/ 160020 w 208597"/>
                  <a:gd name="connsiteY2" fmla="*/ 22860 h 342900"/>
                  <a:gd name="connsiteX3" fmla="*/ 179070 w 208597"/>
                  <a:gd name="connsiteY3" fmla="*/ 75247 h 342900"/>
                  <a:gd name="connsiteX4" fmla="*/ 157163 w 208597"/>
                  <a:gd name="connsiteY4" fmla="*/ 129540 h 342900"/>
                  <a:gd name="connsiteX5" fmla="*/ 97155 w 208597"/>
                  <a:gd name="connsiteY5" fmla="*/ 150495 h 342900"/>
                  <a:gd name="connsiteX6" fmla="*/ 75247 w 208597"/>
                  <a:gd name="connsiteY6" fmla="*/ 149542 h 342900"/>
                  <a:gd name="connsiteX7" fmla="*/ 56197 w 208597"/>
                  <a:gd name="connsiteY7" fmla="*/ 164782 h 342900"/>
                  <a:gd name="connsiteX8" fmla="*/ 49530 w 208597"/>
                  <a:gd name="connsiteY8" fmla="*/ 183832 h 342900"/>
                  <a:gd name="connsiteX9" fmla="*/ 58103 w 208597"/>
                  <a:gd name="connsiteY9" fmla="*/ 200025 h 342900"/>
                  <a:gd name="connsiteX10" fmla="*/ 86678 w 208597"/>
                  <a:gd name="connsiteY10" fmla="*/ 204788 h 342900"/>
                  <a:gd name="connsiteX11" fmla="*/ 127635 w 208597"/>
                  <a:gd name="connsiteY11" fmla="*/ 204788 h 342900"/>
                  <a:gd name="connsiteX12" fmla="*/ 185738 w 208597"/>
                  <a:gd name="connsiteY12" fmla="*/ 220027 h 342900"/>
                  <a:gd name="connsiteX13" fmla="*/ 205740 w 208597"/>
                  <a:gd name="connsiteY13" fmla="*/ 265747 h 342900"/>
                  <a:gd name="connsiteX14" fmla="*/ 176213 w 208597"/>
                  <a:gd name="connsiteY14" fmla="*/ 322897 h 342900"/>
                  <a:gd name="connsiteX15" fmla="*/ 91440 w 208597"/>
                  <a:gd name="connsiteY15" fmla="*/ 342900 h 342900"/>
                  <a:gd name="connsiteX16" fmla="*/ 23813 w 208597"/>
                  <a:gd name="connsiteY16" fmla="*/ 325755 h 342900"/>
                  <a:gd name="connsiteX17" fmla="*/ 0 w 208597"/>
                  <a:gd name="connsiteY17" fmla="*/ 279082 h 342900"/>
                  <a:gd name="connsiteX18" fmla="*/ 15240 w 208597"/>
                  <a:gd name="connsiteY18" fmla="*/ 239077 h 342900"/>
                  <a:gd name="connsiteX19" fmla="*/ 55245 w 208597"/>
                  <a:gd name="connsiteY19" fmla="*/ 217170 h 342900"/>
                  <a:gd name="connsiteX20" fmla="*/ 38100 w 208597"/>
                  <a:gd name="connsiteY20" fmla="*/ 204788 h 342900"/>
                  <a:gd name="connsiteX21" fmla="*/ 31433 w 208597"/>
                  <a:gd name="connsiteY21" fmla="*/ 185738 h 342900"/>
                  <a:gd name="connsiteX22" fmla="*/ 60960 w 208597"/>
                  <a:gd name="connsiteY22" fmla="*/ 144780 h 342900"/>
                  <a:gd name="connsiteX23" fmla="*/ 29528 w 208597"/>
                  <a:gd name="connsiteY23" fmla="*/ 118110 h 342900"/>
                  <a:gd name="connsiteX24" fmla="*/ 18097 w 208597"/>
                  <a:gd name="connsiteY24" fmla="*/ 77152 h 342900"/>
                  <a:gd name="connsiteX25" fmla="*/ 40005 w 208597"/>
                  <a:gd name="connsiteY25" fmla="*/ 20955 h 342900"/>
                  <a:gd name="connsiteX26" fmla="*/ 100013 w 208597"/>
                  <a:gd name="connsiteY26" fmla="*/ 0 h 342900"/>
                  <a:gd name="connsiteX27" fmla="*/ 135255 w 208597"/>
                  <a:gd name="connsiteY27" fmla="*/ 4763 h 342900"/>
                  <a:gd name="connsiteX28" fmla="*/ 208597 w 208597"/>
                  <a:gd name="connsiteY28" fmla="*/ 4763 h 342900"/>
                  <a:gd name="connsiteX29" fmla="*/ 20955 w 208597"/>
                  <a:gd name="connsiteY29" fmla="*/ 278130 h 342900"/>
                  <a:gd name="connsiteX30" fmla="*/ 92392 w 208597"/>
                  <a:gd name="connsiteY30" fmla="*/ 325755 h 342900"/>
                  <a:gd name="connsiteX31" fmla="*/ 183833 w 208597"/>
                  <a:gd name="connsiteY31" fmla="*/ 267652 h 342900"/>
                  <a:gd name="connsiteX32" fmla="*/ 169545 w 208597"/>
                  <a:gd name="connsiteY32" fmla="*/ 237172 h 342900"/>
                  <a:gd name="connsiteX33" fmla="*/ 122872 w 208597"/>
                  <a:gd name="connsiteY33" fmla="*/ 227647 h 342900"/>
                  <a:gd name="connsiteX34" fmla="*/ 84772 w 208597"/>
                  <a:gd name="connsiteY34" fmla="*/ 227647 h 342900"/>
                  <a:gd name="connsiteX35" fmla="*/ 20955 w 208597"/>
                  <a:gd name="connsiteY35" fmla="*/ 278130 h 342900"/>
                  <a:gd name="connsiteX36" fmla="*/ 38100 w 208597"/>
                  <a:gd name="connsiteY36" fmla="*/ 79057 h 342900"/>
                  <a:gd name="connsiteX37" fmla="*/ 54292 w 208597"/>
                  <a:gd name="connsiteY37" fmla="*/ 120967 h 342900"/>
                  <a:gd name="connsiteX38" fmla="*/ 98108 w 208597"/>
                  <a:gd name="connsiteY38" fmla="*/ 136207 h 342900"/>
                  <a:gd name="connsiteX39" fmla="*/ 142875 w 208597"/>
                  <a:gd name="connsiteY39" fmla="*/ 121920 h 342900"/>
                  <a:gd name="connsiteX40" fmla="*/ 158115 w 208597"/>
                  <a:gd name="connsiteY40" fmla="*/ 79057 h 342900"/>
                  <a:gd name="connsiteX41" fmla="*/ 141922 w 208597"/>
                  <a:gd name="connsiteY41" fmla="*/ 34290 h 342900"/>
                  <a:gd name="connsiteX42" fmla="*/ 97155 w 208597"/>
                  <a:gd name="connsiteY42" fmla="*/ 19050 h 342900"/>
                  <a:gd name="connsiteX43" fmla="*/ 53340 w 208597"/>
                  <a:gd name="connsiteY43" fmla="*/ 35242 h 342900"/>
                  <a:gd name="connsiteX44" fmla="*/ 38100 w 208597"/>
                  <a:gd name="connsiteY44" fmla="*/ 79057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08597" h="342900">
                    <a:moveTo>
                      <a:pt x="208597" y="5715"/>
                    </a:moveTo>
                    <a:lnTo>
                      <a:pt x="208597" y="20002"/>
                    </a:lnTo>
                    <a:lnTo>
                      <a:pt x="160020" y="22860"/>
                    </a:lnTo>
                    <a:cubicBezTo>
                      <a:pt x="172403" y="39052"/>
                      <a:pt x="179070" y="56197"/>
                      <a:pt x="179070" y="75247"/>
                    </a:cubicBezTo>
                    <a:cubicBezTo>
                      <a:pt x="179070" y="98107"/>
                      <a:pt x="171450" y="116205"/>
                      <a:pt x="157163" y="129540"/>
                    </a:cubicBezTo>
                    <a:cubicBezTo>
                      <a:pt x="141922" y="143827"/>
                      <a:pt x="121920" y="150495"/>
                      <a:pt x="97155" y="150495"/>
                    </a:cubicBezTo>
                    <a:cubicBezTo>
                      <a:pt x="86678" y="150495"/>
                      <a:pt x="79058" y="150495"/>
                      <a:pt x="75247" y="149542"/>
                    </a:cubicBezTo>
                    <a:cubicBezTo>
                      <a:pt x="66675" y="154305"/>
                      <a:pt x="60008" y="159067"/>
                      <a:pt x="56197" y="164782"/>
                    </a:cubicBezTo>
                    <a:cubicBezTo>
                      <a:pt x="51435" y="170497"/>
                      <a:pt x="49530" y="177165"/>
                      <a:pt x="49530" y="183832"/>
                    </a:cubicBezTo>
                    <a:cubicBezTo>
                      <a:pt x="49530" y="191452"/>
                      <a:pt x="52388" y="196215"/>
                      <a:pt x="58103" y="200025"/>
                    </a:cubicBezTo>
                    <a:cubicBezTo>
                      <a:pt x="63817" y="203835"/>
                      <a:pt x="73342" y="204788"/>
                      <a:pt x="86678" y="204788"/>
                    </a:cubicBezTo>
                    <a:lnTo>
                      <a:pt x="127635" y="204788"/>
                    </a:lnTo>
                    <a:cubicBezTo>
                      <a:pt x="153353" y="204788"/>
                      <a:pt x="172403" y="209550"/>
                      <a:pt x="185738" y="220027"/>
                    </a:cubicBezTo>
                    <a:cubicBezTo>
                      <a:pt x="199072" y="230505"/>
                      <a:pt x="205740" y="245745"/>
                      <a:pt x="205740" y="265747"/>
                    </a:cubicBezTo>
                    <a:cubicBezTo>
                      <a:pt x="205740" y="290513"/>
                      <a:pt x="196215" y="309563"/>
                      <a:pt x="176213" y="322897"/>
                    </a:cubicBezTo>
                    <a:cubicBezTo>
                      <a:pt x="156210" y="336232"/>
                      <a:pt x="127635" y="342900"/>
                      <a:pt x="91440" y="342900"/>
                    </a:cubicBezTo>
                    <a:cubicBezTo>
                      <a:pt x="61913" y="342900"/>
                      <a:pt x="40005" y="337185"/>
                      <a:pt x="23813" y="325755"/>
                    </a:cubicBezTo>
                    <a:cubicBezTo>
                      <a:pt x="7620" y="314325"/>
                      <a:pt x="0" y="299085"/>
                      <a:pt x="0" y="279082"/>
                    </a:cubicBezTo>
                    <a:cubicBezTo>
                      <a:pt x="0" y="262890"/>
                      <a:pt x="4763" y="249555"/>
                      <a:pt x="15240" y="239077"/>
                    </a:cubicBezTo>
                    <a:cubicBezTo>
                      <a:pt x="24765" y="228600"/>
                      <a:pt x="39053" y="220980"/>
                      <a:pt x="55245" y="217170"/>
                    </a:cubicBezTo>
                    <a:cubicBezTo>
                      <a:pt x="48578" y="214313"/>
                      <a:pt x="42863" y="209550"/>
                      <a:pt x="38100" y="204788"/>
                    </a:cubicBezTo>
                    <a:cubicBezTo>
                      <a:pt x="34290" y="199072"/>
                      <a:pt x="31433" y="193357"/>
                      <a:pt x="31433" y="185738"/>
                    </a:cubicBezTo>
                    <a:cubicBezTo>
                      <a:pt x="31433" y="170497"/>
                      <a:pt x="40958" y="156210"/>
                      <a:pt x="60960" y="144780"/>
                    </a:cubicBezTo>
                    <a:cubicBezTo>
                      <a:pt x="47625" y="139065"/>
                      <a:pt x="37147" y="130492"/>
                      <a:pt x="29528" y="118110"/>
                    </a:cubicBezTo>
                    <a:cubicBezTo>
                      <a:pt x="21908" y="106680"/>
                      <a:pt x="18097" y="92392"/>
                      <a:pt x="18097" y="77152"/>
                    </a:cubicBezTo>
                    <a:cubicBezTo>
                      <a:pt x="18097" y="54292"/>
                      <a:pt x="25717" y="35242"/>
                      <a:pt x="40005" y="20955"/>
                    </a:cubicBezTo>
                    <a:cubicBezTo>
                      <a:pt x="54292" y="6667"/>
                      <a:pt x="74295" y="0"/>
                      <a:pt x="100013" y="0"/>
                    </a:cubicBezTo>
                    <a:cubicBezTo>
                      <a:pt x="115253" y="0"/>
                      <a:pt x="126683" y="1905"/>
                      <a:pt x="135255" y="4763"/>
                    </a:cubicBezTo>
                    <a:lnTo>
                      <a:pt x="208597" y="4763"/>
                    </a:lnTo>
                    <a:close/>
                    <a:moveTo>
                      <a:pt x="20955" y="278130"/>
                    </a:moveTo>
                    <a:cubicBezTo>
                      <a:pt x="20955" y="310515"/>
                      <a:pt x="44767" y="325755"/>
                      <a:pt x="92392" y="325755"/>
                    </a:cubicBezTo>
                    <a:cubicBezTo>
                      <a:pt x="153353" y="325755"/>
                      <a:pt x="183833" y="306705"/>
                      <a:pt x="183833" y="267652"/>
                    </a:cubicBezTo>
                    <a:cubicBezTo>
                      <a:pt x="183833" y="253365"/>
                      <a:pt x="179070" y="243840"/>
                      <a:pt x="169545" y="237172"/>
                    </a:cubicBezTo>
                    <a:cubicBezTo>
                      <a:pt x="160020" y="230505"/>
                      <a:pt x="144780" y="227647"/>
                      <a:pt x="122872" y="227647"/>
                    </a:cubicBezTo>
                    <a:lnTo>
                      <a:pt x="84772" y="227647"/>
                    </a:lnTo>
                    <a:cubicBezTo>
                      <a:pt x="41910" y="227647"/>
                      <a:pt x="20955" y="244792"/>
                      <a:pt x="20955" y="278130"/>
                    </a:cubicBezTo>
                    <a:close/>
                    <a:moveTo>
                      <a:pt x="38100" y="79057"/>
                    </a:moveTo>
                    <a:cubicBezTo>
                      <a:pt x="38100" y="97155"/>
                      <a:pt x="43815" y="111442"/>
                      <a:pt x="54292" y="120967"/>
                    </a:cubicBezTo>
                    <a:cubicBezTo>
                      <a:pt x="64770" y="130492"/>
                      <a:pt x="80010" y="136207"/>
                      <a:pt x="98108" y="136207"/>
                    </a:cubicBezTo>
                    <a:cubicBezTo>
                      <a:pt x="117158" y="136207"/>
                      <a:pt x="132397" y="131445"/>
                      <a:pt x="142875" y="121920"/>
                    </a:cubicBezTo>
                    <a:cubicBezTo>
                      <a:pt x="153353" y="112395"/>
                      <a:pt x="158115" y="98107"/>
                      <a:pt x="158115" y="79057"/>
                    </a:cubicBezTo>
                    <a:cubicBezTo>
                      <a:pt x="158115" y="59055"/>
                      <a:pt x="152400" y="44767"/>
                      <a:pt x="141922" y="34290"/>
                    </a:cubicBezTo>
                    <a:cubicBezTo>
                      <a:pt x="131445" y="24765"/>
                      <a:pt x="116205" y="19050"/>
                      <a:pt x="97155" y="19050"/>
                    </a:cubicBezTo>
                    <a:cubicBezTo>
                      <a:pt x="79058" y="19050"/>
                      <a:pt x="63817" y="24765"/>
                      <a:pt x="53340" y="35242"/>
                    </a:cubicBezTo>
                    <a:cubicBezTo>
                      <a:pt x="43815" y="44767"/>
                      <a:pt x="38100" y="60007"/>
                      <a:pt x="38100" y="79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41">
                <a:extLst>
                  <a:ext uri="{FF2B5EF4-FFF2-40B4-BE49-F238E27FC236}">
                    <a16:creationId xmlns:a16="http://schemas.microsoft.com/office/drawing/2014/main" id="{FB3F6D5D-3462-22C3-C556-688B1037F6EA}"/>
                  </a:ext>
                </a:extLst>
              </p:cNvPr>
              <p:cNvSpPr/>
              <p:nvPr/>
            </p:nvSpPr>
            <p:spPr>
              <a:xfrm>
                <a:off x="1724893" y="2395422"/>
                <a:ext cx="175259" cy="240030"/>
              </a:xfrm>
              <a:custGeom>
                <a:avLst/>
                <a:gdLst>
                  <a:gd name="connsiteX0" fmla="*/ 160020 w 175259"/>
                  <a:gd name="connsiteY0" fmla="*/ 236220 h 240030"/>
                  <a:gd name="connsiteX1" fmla="*/ 154305 w 175259"/>
                  <a:gd name="connsiteY1" fmla="*/ 199073 h 240030"/>
                  <a:gd name="connsiteX2" fmla="*/ 152400 w 175259"/>
                  <a:gd name="connsiteY2" fmla="*/ 199073 h 240030"/>
                  <a:gd name="connsiteX3" fmla="*/ 116205 w 175259"/>
                  <a:gd name="connsiteY3" fmla="*/ 230505 h 240030"/>
                  <a:gd name="connsiteX4" fmla="*/ 72390 w 175259"/>
                  <a:gd name="connsiteY4" fmla="*/ 240030 h 240030"/>
                  <a:gd name="connsiteX5" fmla="*/ 19050 w 175259"/>
                  <a:gd name="connsiteY5" fmla="*/ 222885 h 240030"/>
                  <a:gd name="connsiteX6" fmla="*/ 0 w 175259"/>
                  <a:gd name="connsiteY6" fmla="*/ 174308 h 240030"/>
                  <a:gd name="connsiteX7" fmla="*/ 28575 w 175259"/>
                  <a:gd name="connsiteY7" fmla="*/ 121920 h 240030"/>
                  <a:gd name="connsiteX8" fmla="*/ 110490 w 175259"/>
                  <a:gd name="connsiteY8" fmla="*/ 101918 h 240030"/>
                  <a:gd name="connsiteX9" fmla="*/ 154305 w 175259"/>
                  <a:gd name="connsiteY9" fmla="*/ 100965 h 240030"/>
                  <a:gd name="connsiteX10" fmla="*/ 154305 w 175259"/>
                  <a:gd name="connsiteY10" fmla="*/ 85725 h 240030"/>
                  <a:gd name="connsiteX11" fmla="*/ 140970 w 175259"/>
                  <a:gd name="connsiteY11" fmla="*/ 35243 h 240030"/>
                  <a:gd name="connsiteX12" fmla="*/ 97155 w 175259"/>
                  <a:gd name="connsiteY12" fmla="*/ 18098 h 240030"/>
                  <a:gd name="connsiteX13" fmla="*/ 30480 w 175259"/>
                  <a:gd name="connsiteY13" fmla="*/ 36195 h 240030"/>
                  <a:gd name="connsiteX14" fmla="*/ 22860 w 175259"/>
                  <a:gd name="connsiteY14" fmla="*/ 18098 h 240030"/>
                  <a:gd name="connsiteX15" fmla="*/ 99060 w 175259"/>
                  <a:gd name="connsiteY15" fmla="*/ 0 h 240030"/>
                  <a:gd name="connsiteX16" fmla="*/ 156210 w 175259"/>
                  <a:gd name="connsiteY16" fmla="*/ 20003 h 240030"/>
                  <a:gd name="connsiteX17" fmla="*/ 175260 w 175259"/>
                  <a:gd name="connsiteY17" fmla="*/ 81915 h 240030"/>
                  <a:gd name="connsiteX18" fmla="*/ 175260 w 175259"/>
                  <a:gd name="connsiteY18" fmla="*/ 236220 h 240030"/>
                  <a:gd name="connsiteX19" fmla="*/ 160020 w 175259"/>
                  <a:gd name="connsiteY19" fmla="*/ 236220 h 240030"/>
                  <a:gd name="connsiteX20" fmla="*/ 74295 w 175259"/>
                  <a:gd name="connsiteY20" fmla="*/ 220980 h 240030"/>
                  <a:gd name="connsiteX21" fmla="*/ 133350 w 175259"/>
                  <a:gd name="connsiteY21" fmla="*/ 200025 h 240030"/>
                  <a:gd name="connsiteX22" fmla="*/ 155258 w 175259"/>
                  <a:gd name="connsiteY22" fmla="*/ 140970 h 240030"/>
                  <a:gd name="connsiteX23" fmla="*/ 155258 w 175259"/>
                  <a:gd name="connsiteY23" fmla="*/ 118110 h 240030"/>
                  <a:gd name="connsiteX24" fmla="*/ 114300 w 175259"/>
                  <a:gd name="connsiteY24" fmla="*/ 120015 h 240030"/>
                  <a:gd name="connsiteX25" fmla="*/ 44767 w 175259"/>
                  <a:gd name="connsiteY25" fmla="*/ 135255 h 240030"/>
                  <a:gd name="connsiteX26" fmla="*/ 23813 w 175259"/>
                  <a:gd name="connsiteY26" fmla="*/ 175260 h 240030"/>
                  <a:gd name="connsiteX27" fmla="*/ 37147 w 175259"/>
                  <a:gd name="connsiteY27" fmla="*/ 209550 h 240030"/>
                  <a:gd name="connsiteX28" fmla="*/ 74295 w 175259"/>
                  <a:gd name="connsiteY28" fmla="*/ 220980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5259" h="240030">
                    <a:moveTo>
                      <a:pt x="160020" y="236220"/>
                    </a:moveTo>
                    <a:lnTo>
                      <a:pt x="154305" y="199073"/>
                    </a:lnTo>
                    <a:lnTo>
                      <a:pt x="152400" y="199073"/>
                    </a:lnTo>
                    <a:cubicBezTo>
                      <a:pt x="140970" y="214313"/>
                      <a:pt x="128588" y="224790"/>
                      <a:pt x="116205" y="230505"/>
                    </a:cubicBezTo>
                    <a:cubicBezTo>
                      <a:pt x="103822" y="237173"/>
                      <a:pt x="89535" y="240030"/>
                      <a:pt x="72390" y="240030"/>
                    </a:cubicBezTo>
                    <a:cubicBezTo>
                      <a:pt x="49530" y="240030"/>
                      <a:pt x="31433" y="234315"/>
                      <a:pt x="19050" y="222885"/>
                    </a:cubicBezTo>
                    <a:cubicBezTo>
                      <a:pt x="6667" y="211455"/>
                      <a:pt x="0" y="195263"/>
                      <a:pt x="0" y="174308"/>
                    </a:cubicBezTo>
                    <a:cubicBezTo>
                      <a:pt x="0" y="151448"/>
                      <a:pt x="9525" y="134303"/>
                      <a:pt x="28575" y="121920"/>
                    </a:cubicBezTo>
                    <a:cubicBezTo>
                      <a:pt x="47625" y="109538"/>
                      <a:pt x="75247" y="102870"/>
                      <a:pt x="110490" y="101918"/>
                    </a:cubicBezTo>
                    <a:lnTo>
                      <a:pt x="154305" y="100965"/>
                    </a:lnTo>
                    <a:lnTo>
                      <a:pt x="154305" y="85725"/>
                    </a:lnTo>
                    <a:cubicBezTo>
                      <a:pt x="154305" y="63818"/>
                      <a:pt x="149542" y="46673"/>
                      <a:pt x="140970" y="35243"/>
                    </a:cubicBezTo>
                    <a:cubicBezTo>
                      <a:pt x="132397" y="23813"/>
                      <a:pt x="117158" y="18098"/>
                      <a:pt x="97155" y="18098"/>
                    </a:cubicBezTo>
                    <a:cubicBezTo>
                      <a:pt x="75247" y="18098"/>
                      <a:pt x="53340" y="23813"/>
                      <a:pt x="30480" y="36195"/>
                    </a:cubicBezTo>
                    <a:lnTo>
                      <a:pt x="22860" y="18098"/>
                    </a:lnTo>
                    <a:cubicBezTo>
                      <a:pt x="48577" y="5715"/>
                      <a:pt x="73342" y="0"/>
                      <a:pt x="99060" y="0"/>
                    </a:cubicBezTo>
                    <a:cubicBezTo>
                      <a:pt x="124777" y="0"/>
                      <a:pt x="143827" y="6668"/>
                      <a:pt x="156210" y="20003"/>
                    </a:cubicBezTo>
                    <a:cubicBezTo>
                      <a:pt x="168592" y="33338"/>
                      <a:pt x="175260" y="54293"/>
                      <a:pt x="175260" y="81915"/>
                    </a:cubicBezTo>
                    <a:lnTo>
                      <a:pt x="175260" y="236220"/>
                    </a:lnTo>
                    <a:lnTo>
                      <a:pt x="160020" y="236220"/>
                    </a:lnTo>
                    <a:close/>
                    <a:moveTo>
                      <a:pt x="74295" y="220980"/>
                    </a:moveTo>
                    <a:cubicBezTo>
                      <a:pt x="99060" y="220980"/>
                      <a:pt x="119063" y="214313"/>
                      <a:pt x="133350" y="200025"/>
                    </a:cubicBezTo>
                    <a:cubicBezTo>
                      <a:pt x="147638" y="185738"/>
                      <a:pt x="155258" y="165735"/>
                      <a:pt x="155258" y="140970"/>
                    </a:cubicBezTo>
                    <a:lnTo>
                      <a:pt x="155258" y="118110"/>
                    </a:lnTo>
                    <a:lnTo>
                      <a:pt x="114300" y="120015"/>
                    </a:lnTo>
                    <a:cubicBezTo>
                      <a:pt x="81915" y="121920"/>
                      <a:pt x="58102" y="126683"/>
                      <a:pt x="44767" y="135255"/>
                    </a:cubicBezTo>
                    <a:cubicBezTo>
                      <a:pt x="30480" y="143828"/>
                      <a:pt x="23813" y="157163"/>
                      <a:pt x="23813" y="175260"/>
                    </a:cubicBezTo>
                    <a:cubicBezTo>
                      <a:pt x="23813" y="189548"/>
                      <a:pt x="28575" y="200978"/>
                      <a:pt x="37147" y="209550"/>
                    </a:cubicBezTo>
                    <a:cubicBezTo>
                      <a:pt x="45720" y="217170"/>
                      <a:pt x="58102" y="220980"/>
                      <a:pt x="74295" y="2209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42">
                <a:extLst>
                  <a:ext uri="{FF2B5EF4-FFF2-40B4-BE49-F238E27FC236}">
                    <a16:creationId xmlns:a16="http://schemas.microsoft.com/office/drawing/2014/main" id="{D1B23ECB-258F-C3AC-CA23-BBA9683C6B1E}"/>
                  </a:ext>
                </a:extLst>
              </p:cNvPr>
              <p:cNvSpPr/>
              <p:nvPr/>
            </p:nvSpPr>
            <p:spPr>
              <a:xfrm>
                <a:off x="1967780" y="2299220"/>
                <a:ext cx="20954" cy="332422"/>
              </a:xfrm>
              <a:custGeom>
                <a:avLst/>
                <a:gdLst>
                  <a:gd name="connsiteX0" fmla="*/ 20955 w 20954"/>
                  <a:gd name="connsiteY0" fmla="*/ 332422 h 332422"/>
                  <a:gd name="connsiteX1" fmla="*/ 0 w 20954"/>
                  <a:gd name="connsiteY1" fmla="*/ 332422 h 332422"/>
                  <a:gd name="connsiteX2" fmla="*/ 0 w 20954"/>
                  <a:gd name="connsiteY2" fmla="*/ 0 h 332422"/>
                  <a:gd name="connsiteX3" fmla="*/ 20955 w 20954"/>
                  <a:gd name="connsiteY3" fmla="*/ 0 h 332422"/>
                  <a:gd name="connsiteX4" fmla="*/ 20955 w 20954"/>
                  <a:gd name="connsiteY4" fmla="*/ 332422 h 332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4" h="332422">
                    <a:moveTo>
                      <a:pt x="20955" y="332422"/>
                    </a:moveTo>
                    <a:lnTo>
                      <a:pt x="0" y="332422"/>
                    </a:lnTo>
                    <a:lnTo>
                      <a:pt x="0" y="0"/>
                    </a:lnTo>
                    <a:lnTo>
                      <a:pt x="20955" y="0"/>
                    </a:lnTo>
                    <a:lnTo>
                      <a:pt x="20955" y="33242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8275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5C4AFF13-7ABE-9B03-48D0-E799193BDA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2" b="28678"/>
          <a:stretch/>
        </p:blipFill>
        <p:spPr>
          <a:xfrm>
            <a:off x="3175000" y="-14917"/>
            <a:ext cx="9017000" cy="4885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215" y="3553934"/>
            <a:ext cx="7395234" cy="857250"/>
          </a:xfrm>
        </p:spPr>
        <p:txBody>
          <a:bodyPr anchor="ctr">
            <a:normAutofit/>
          </a:bodyPr>
          <a:lstStyle/>
          <a:p>
            <a:r>
              <a:rPr lang="nl-BE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Inleiding</a:t>
            </a:r>
            <a:endParaRPr lang="en-US" sz="36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16C95BB-AA08-452A-3CAD-AE8E1052F4D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13255" b="28764"/>
          <a:stretch/>
        </p:blipFill>
        <p:spPr>
          <a:xfrm>
            <a:off x="6224667" y="1987550"/>
            <a:ext cx="5967334" cy="488536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7CE03B76-36F5-6777-A15B-7B54DBC41F65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141350566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0">
            <a:alpha val="71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5C4AFF13-7ABE-9B03-48D0-E799193BDA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2" b="28678"/>
          <a:stretch/>
        </p:blipFill>
        <p:spPr>
          <a:xfrm>
            <a:off x="3175000" y="-14917"/>
            <a:ext cx="9017000" cy="4885368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E16C95BB-AA08-452A-3CAD-AE8E1052F4D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3255" b="28764"/>
          <a:stretch/>
        </p:blipFill>
        <p:spPr>
          <a:xfrm>
            <a:off x="6224667" y="1987550"/>
            <a:ext cx="5967334" cy="488536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7CE03B76-36F5-6777-A15B-7B54DBC41F65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215" y="3553934"/>
            <a:ext cx="9706694" cy="857250"/>
          </a:xfrm>
        </p:spPr>
        <p:txBody>
          <a:bodyPr anchor="ctr">
            <a:normAutofit/>
          </a:bodyPr>
          <a:lstStyle/>
          <a:p>
            <a:r>
              <a:rPr lang="nl-BE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De fiscale misdrijven en hun bestraffing</a:t>
            </a:r>
            <a:endParaRPr lang="en-US" sz="36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03194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50"/>
            <a:ext cx="10241280" cy="3653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7170326E-A40E-1D8B-6931-CB46B45C604B}"/>
              </a:ext>
            </a:extLst>
          </p:cNvPr>
          <p:cNvSpPr txBox="1">
            <a:spLocks/>
          </p:cNvSpPr>
          <p:nvPr/>
        </p:nvSpPr>
        <p:spPr>
          <a:xfrm>
            <a:off x="1097281" y="1482291"/>
            <a:ext cx="11036968" cy="4691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Onderscheid</a:t>
            </a:r>
            <a:r>
              <a:rPr lang="en-US" sz="1600" dirty="0"/>
              <a:t> </a:t>
            </a:r>
            <a:r>
              <a:rPr lang="en-US" sz="1600" dirty="0" err="1"/>
              <a:t>tussen</a:t>
            </a:r>
            <a:r>
              <a:rPr lang="en-US" sz="1600" dirty="0"/>
              <a:t> </a:t>
            </a:r>
            <a:r>
              <a:rPr lang="en-US" sz="1600" dirty="0" err="1"/>
              <a:t>misdaad</a:t>
            </a:r>
            <a:r>
              <a:rPr lang="en-US" sz="1600" dirty="0"/>
              <a:t>, </a:t>
            </a:r>
            <a:r>
              <a:rPr lang="en-US" sz="1600" dirty="0" err="1"/>
              <a:t>wanbedrijf</a:t>
            </a:r>
            <a:r>
              <a:rPr lang="en-US" sz="1600" dirty="0"/>
              <a:t> </a:t>
            </a:r>
            <a:r>
              <a:rPr lang="en-US" sz="1600" dirty="0" err="1"/>
              <a:t>en</a:t>
            </a:r>
            <a:r>
              <a:rPr lang="en-US" sz="1600" dirty="0"/>
              <a:t> </a:t>
            </a:r>
            <a:r>
              <a:rPr lang="en-US" sz="1600" dirty="0" err="1"/>
              <a:t>overtreding</a:t>
            </a:r>
            <a:r>
              <a:rPr lang="en-US" sz="1600" dirty="0"/>
              <a:t> </a:t>
            </a:r>
            <a:r>
              <a:rPr lang="en-US" sz="1600" dirty="0" err="1"/>
              <a:t>valt</a:t>
            </a:r>
            <a:r>
              <a:rPr lang="en-US" sz="1600" dirty="0"/>
              <a:t> </a:t>
            </a:r>
            <a:r>
              <a:rPr lang="en-US" sz="1600" dirty="0" err="1"/>
              <a:t>weg</a:t>
            </a:r>
            <a:r>
              <a:rPr lang="en-US" sz="1600" dirty="0"/>
              <a:t> </a:t>
            </a: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b="1" dirty="0">
                <a:sym typeface="Wingdings" panose="05000000000000000000" pitchFamily="2" charset="2"/>
              </a:rPr>
              <a:t>‘</a:t>
            </a:r>
            <a:r>
              <a:rPr lang="en-US" sz="1600" b="1" dirty="0" err="1">
                <a:sym typeface="Wingdings" panose="05000000000000000000" pitchFamily="2" charset="2"/>
              </a:rPr>
              <a:t>misdrijven</a:t>
            </a:r>
            <a:r>
              <a:rPr lang="en-US" sz="1600" b="1" dirty="0">
                <a:sym typeface="Wingdings" panose="05000000000000000000" pitchFamily="2" charset="2"/>
              </a:rPr>
              <a:t>’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Bestraffing</a:t>
            </a:r>
            <a:r>
              <a:rPr lang="en-US" sz="1600" dirty="0"/>
              <a:t> van alle </a:t>
            </a:r>
            <a:r>
              <a:rPr lang="en-US" sz="1600" dirty="0" err="1"/>
              <a:t>misdrijven</a:t>
            </a:r>
            <a:r>
              <a:rPr lang="en-US" sz="1600" dirty="0"/>
              <a:t> op basis van </a:t>
            </a:r>
            <a:r>
              <a:rPr lang="en-US" sz="1600" b="1" dirty="0" err="1"/>
              <a:t>acht</a:t>
            </a:r>
            <a:r>
              <a:rPr lang="en-US" sz="1600" b="1" dirty="0"/>
              <a:t> </a:t>
            </a:r>
            <a:r>
              <a:rPr lang="en-US" sz="1600" b="1" dirty="0" err="1"/>
              <a:t>strafniveaus</a:t>
            </a:r>
            <a:endParaRPr lang="en-US" sz="16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>
                <a:sym typeface="Wingdings" panose="05000000000000000000" pitchFamily="2" charset="2"/>
              </a:rPr>
              <a:t>Voor</a:t>
            </a:r>
            <a:r>
              <a:rPr lang="en-US" sz="1600" dirty="0">
                <a:sym typeface="Wingdings" panose="05000000000000000000" pitchFamily="2" charset="2"/>
              </a:rPr>
              <a:t> elk </a:t>
            </a:r>
            <a:r>
              <a:rPr lang="en-US" sz="1600" dirty="0" err="1">
                <a:sym typeface="Wingdings" panose="05000000000000000000" pitchFamily="2" charset="2"/>
              </a:rPr>
              <a:t>strafniveau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worden</a:t>
            </a:r>
            <a:r>
              <a:rPr lang="en-US" sz="1600" dirty="0">
                <a:sym typeface="Wingdings" panose="05000000000000000000" pitchFamily="2" charset="2"/>
              </a:rPr>
              <a:t> de van </a:t>
            </a:r>
            <a:r>
              <a:rPr lang="en-US" sz="1600" dirty="0" err="1">
                <a:sym typeface="Wingdings" panose="05000000000000000000" pitchFamily="2" charset="2"/>
              </a:rPr>
              <a:t>toepassing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zijnde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straffen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bepaald</a:t>
            </a:r>
            <a:r>
              <a:rPr lang="en-US" sz="1600" dirty="0">
                <a:sym typeface="Wingdings" panose="05000000000000000000" pitchFamily="2" charset="2"/>
              </a:rPr>
              <a:t>; </a:t>
            </a:r>
            <a:r>
              <a:rPr lang="en-US" sz="1600" dirty="0" err="1">
                <a:sym typeface="Wingdings" panose="05000000000000000000" pitchFamily="2" charset="2"/>
              </a:rPr>
              <a:t>vervolgens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wordt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voor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ieder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misdrijf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bepaald</a:t>
            </a:r>
            <a:r>
              <a:rPr lang="en-US" sz="1600" dirty="0">
                <a:sym typeface="Wingdings" panose="05000000000000000000" pitchFamily="2" charset="2"/>
              </a:rPr>
              <a:t> welk </a:t>
            </a:r>
            <a:r>
              <a:rPr lang="en-US" sz="1600" dirty="0" err="1">
                <a:sym typeface="Wingdings" panose="05000000000000000000" pitchFamily="2" charset="2"/>
              </a:rPr>
              <a:t>strafniveau</a:t>
            </a:r>
            <a:r>
              <a:rPr lang="en-US" sz="1600" dirty="0">
                <a:sym typeface="Wingdings" panose="05000000000000000000" pitchFamily="2" charset="2"/>
              </a:rPr>
              <a:t> van </a:t>
            </a:r>
            <a:r>
              <a:rPr lang="en-US" sz="1600" dirty="0" err="1">
                <a:sym typeface="Wingdings" panose="05000000000000000000" pitchFamily="2" charset="2"/>
              </a:rPr>
              <a:t>toepassing</a:t>
            </a:r>
            <a:r>
              <a:rPr lang="en-US" sz="1600" dirty="0">
                <a:sym typeface="Wingdings" panose="05000000000000000000" pitchFamily="2" charset="2"/>
              </a:rPr>
              <a:t> is</a:t>
            </a:r>
          </a:p>
          <a:p>
            <a:pPr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 err="1">
                <a:sym typeface="Wingdings" panose="05000000000000000000" pitchFamily="2" charset="2"/>
              </a:rPr>
              <a:t>Voor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fiscale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misdrijven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zijn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enkel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niveau</a:t>
            </a:r>
            <a:r>
              <a:rPr lang="en-US" sz="1600" dirty="0">
                <a:sym typeface="Wingdings" panose="05000000000000000000" pitchFamily="2" charset="2"/>
              </a:rPr>
              <a:t> 1, 2 </a:t>
            </a:r>
            <a:r>
              <a:rPr lang="en-US" sz="1600" dirty="0" err="1">
                <a:sym typeface="Wingdings" panose="05000000000000000000" pitchFamily="2" charset="2"/>
              </a:rPr>
              <a:t>en</a:t>
            </a:r>
            <a:r>
              <a:rPr lang="en-US" sz="1600" dirty="0">
                <a:sym typeface="Wingdings" panose="05000000000000000000" pitchFamily="2" charset="2"/>
              </a:rPr>
              <a:t> 3 releva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>
                <a:sym typeface="Wingdings" panose="05000000000000000000" pitchFamily="2" charset="2"/>
              </a:rPr>
              <a:t>Voor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b="1" dirty="0" err="1">
                <a:sym typeface="Wingdings" panose="05000000000000000000" pitchFamily="2" charset="2"/>
              </a:rPr>
              <a:t>rechtspersonen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werd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voorzien</a:t>
            </a:r>
            <a:r>
              <a:rPr lang="en-US" sz="1600" dirty="0">
                <a:sym typeface="Wingdings" panose="05000000000000000000" pitchFamily="2" charset="2"/>
              </a:rPr>
              <a:t> in eigen </a:t>
            </a:r>
            <a:r>
              <a:rPr lang="en-US" sz="1600" dirty="0" err="1">
                <a:sym typeface="Wingdings" panose="05000000000000000000" pitchFamily="2" charset="2"/>
              </a:rPr>
              <a:t>straffen</a:t>
            </a:r>
            <a:r>
              <a:rPr lang="en-US" sz="1600" dirty="0">
                <a:sym typeface="Wingdings" panose="05000000000000000000" pitchFamily="2" charset="2"/>
              </a:rPr>
              <a:t> (</a:t>
            </a:r>
            <a:r>
              <a:rPr lang="en-US" sz="1600" dirty="0" err="1">
                <a:sym typeface="Wingdings" panose="05000000000000000000" pitchFamily="2" charset="2"/>
              </a:rPr>
              <a:t>afschaffing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conversiemechanisme</a:t>
            </a:r>
            <a:r>
              <a:rPr lang="en-US" sz="1600" dirty="0">
                <a:sym typeface="Wingdings" panose="05000000000000000000" pitchFamily="2" charset="2"/>
              </a:rPr>
              <a:t>)</a:t>
            </a:r>
          </a:p>
          <a:p>
            <a:endParaRPr lang="en-US" sz="1600" b="1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 err="1">
                <a:sym typeface="Wingdings" panose="05000000000000000000" pitchFamily="2" charset="2"/>
              </a:rPr>
              <a:t>Gevangenisstraf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geldt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als</a:t>
            </a:r>
            <a:r>
              <a:rPr lang="en-US" sz="1600" dirty="0">
                <a:sym typeface="Wingdings" panose="05000000000000000000" pitchFamily="2" charset="2"/>
              </a:rPr>
              <a:t> ‘</a:t>
            </a:r>
            <a:r>
              <a:rPr lang="en-US" sz="1600" dirty="0" err="1">
                <a:sym typeface="Wingdings" panose="05000000000000000000" pitchFamily="2" charset="2"/>
              </a:rPr>
              <a:t>ultimum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en-US" sz="1600" dirty="0" err="1">
                <a:sym typeface="Wingdings" panose="05000000000000000000" pitchFamily="2" charset="2"/>
              </a:rPr>
              <a:t>remedium</a:t>
            </a:r>
            <a:r>
              <a:rPr lang="en-US" sz="1600" dirty="0">
                <a:sym typeface="Wingdings" panose="05000000000000000000" pitchFamily="2" charset="2"/>
              </a:rPr>
              <a:t>’ (art. 27 NSW)  </a:t>
            </a:r>
            <a:r>
              <a:rPr lang="en-US" sz="1600" dirty="0" err="1">
                <a:sym typeface="Wingdings" panose="05000000000000000000" pitchFamily="2" charset="2"/>
              </a:rPr>
              <a:t>ook</a:t>
            </a:r>
            <a:r>
              <a:rPr lang="en-US" sz="1600" dirty="0">
                <a:sym typeface="Wingdings" panose="05000000000000000000" pitchFamily="2" charset="2"/>
              </a:rPr>
              <a:t> zo </a:t>
            </a:r>
            <a:r>
              <a:rPr lang="en-US" sz="1600" dirty="0" err="1">
                <a:sym typeface="Wingdings" panose="05000000000000000000" pitchFamily="2" charset="2"/>
              </a:rPr>
              <a:t>voor</a:t>
            </a:r>
            <a:r>
              <a:rPr lang="en-US" sz="1600" dirty="0">
                <a:sym typeface="Wingdings" panose="05000000000000000000" pitchFamily="2" charset="2"/>
              </a:rPr>
              <a:t> fiscal</a:t>
            </a:r>
            <a:r>
              <a:rPr lang="nl-BE" sz="1600" dirty="0">
                <a:sym typeface="Wingdings" panose="05000000000000000000" pitchFamily="2" charset="2"/>
              </a:rPr>
              <a:t>e misdrijven?</a:t>
            </a:r>
          </a:p>
          <a:p>
            <a:endParaRPr lang="nl-BE" sz="1600" dirty="0">
              <a:sym typeface="Wingdings" panose="05000000000000000000" pitchFamily="2" charset="2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E1C54BA-18BE-9E65-C4B8-60A68AB5701F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34772494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602557" y="1352146"/>
            <a:ext cx="10268602" cy="5317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ym typeface="Wingdings" panose="05000000000000000000" pitchFamily="2" charset="2"/>
              </a:rPr>
              <a:t>NIVEAU 1 – NATUURLIJKE PERSONEN</a:t>
            </a:r>
          </a:p>
          <a:p>
            <a:r>
              <a:rPr lang="en-US" sz="1400" u="sng" dirty="0" err="1">
                <a:sym typeface="Wingdings" panose="05000000000000000000" pitchFamily="2" charset="2"/>
              </a:rPr>
              <a:t>Hoofdstraffen</a:t>
            </a:r>
            <a:r>
              <a:rPr lang="en-US" sz="1400" u="sng" dirty="0">
                <a:sym typeface="Wingdings" panose="05000000000000000000" pitchFamily="2" charset="2"/>
              </a:rPr>
              <a:t> (art. 36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solidFill>
                  <a:schemeClr val="accent3"/>
                </a:solidFill>
                <a:sym typeface="Wingdings" panose="05000000000000000000" pitchFamily="2" charset="2"/>
              </a:rPr>
              <a:t>de </a:t>
            </a:r>
            <a:r>
              <a:rPr lang="nl-NL" sz="1400" b="0" dirty="0">
                <a:solidFill>
                  <a:schemeClr val="accent3"/>
                </a:solidFill>
              </a:rPr>
              <a:t>geldboete van 200 euro tot ten hoogste 20.000 euro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werkstraf van twintig uur tot ten hoogste honderdtwintig uu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probatiestraf van zes maanden tot ten hoogste twaalf maanden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verbeurdverklaring, met inbegrip van de verruimde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veroordeling bij schuldigverklaring;</a:t>
            </a: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400" b="0" u="sng" dirty="0"/>
              <a:t>Bijkomende straffen (art. 37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verlengde opvolg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ontzetting uit bepaalde burgerlijke en politieke rechten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het beroepsverbod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bekendmaking van de beslissing houdende veroordel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het verblijfs-, plaats- of contactverbod.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 Legal</a:t>
            </a:r>
          </a:p>
        </p:txBody>
      </p:sp>
    </p:spTree>
    <p:extLst>
      <p:ext uri="{BB962C8B-B14F-4D97-AF65-F5344CB8AC3E}">
        <p14:creationId xmlns:p14="http://schemas.microsoft.com/office/powerpoint/2010/main" val="303729506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174281" y="1453415"/>
            <a:ext cx="10696878" cy="47791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ym typeface="Wingdings" panose="05000000000000000000" pitchFamily="2" charset="2"/>
              </a:rPr>
              <a:t>NIVEAU 1 – RECHTSPERSONEN</a:t>
            </a:r>
          </a:p>
          <a:p>
            <a:r>
              <a:rPr lang="en-US" sz="1600" u="sng" dirty="0" err="1">
                <a:sym typeface="Wingdings" panose="05000000000000000000" pitchFamily="2" charset="2"/>
              </a:rPr>
              <a:t>Hoofdstraffen</a:t>
            </a:r>
            <a:r>
              <a:rPr lang="en-US" sz="1600" u="sng" dirty="0">
                <a:sym typeface="Wingdings" panose="05000000000000000000" pitchFamily="2" charset="2"/>
              </a:rPr>
              <a:t> (art. 38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b="0" dirty="0">
                <a:solidFill>
                  <a:schemeClr val="accent3"/>
                </a:solidFill>
                <a:sym typeface="Wingdings" panose="05000000000000000000" pitchFamily="2" charset="2"/>
              </a:rPr>
              <a:t>de </a:t>
            </a:r>
            <a:r>
              <a:rPr lang="nl-NL" sz="1600" b="0" dirty="0">
                <a:solidFill>
                  <a:schemeClr val="accent3"/>
                </a:solidFill>
              </a:rPr>
              <a:t>geldboete van 200 euro tot ten hoogste 20.000 euro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dienstverleningsstraf ten gunste van de gemeenschap, geraamd op een bedrag van 200 EUR tot maximaal 20.000 EU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probatiestraf van zes maanden tot ten hoogste twaalf maanden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verbeurdverklaring, met inbegrip van de verruimde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veroordeling bij schuldigverklaring;</a:t>
            </a: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600" b="0" u="sng" dirty="0"/>
              <a:t>Bijkomende straffen (art. 39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het verbod om een activiteit die deel uitmaakt van het voorwerp uit te oefenen voor een periode van een jaar tot ten hoogste tien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bekendmaking van de beslissing houdende veroordeling. 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30927144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602557" y="1251624"/>
            <a:ext cx="10268602" cy="5417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ym typeface="Wingdings" panose="05000000000000000000" pitchFamily="2" charset="2"/>
              </a:rPr>
              <a:t>NIVEAU 2 – NATUURLIJKE PERSONEN</a:t>
            </a:r>
          </a:p>
          <a:p>
            <a:r>
              <a:rPr lang="en-US" sz="1400" u="sng" dirty="0" err="1">
                <a:sym typeface="Wingdings" panose="05000000000000000000" pitchFamily="2" charset="2"/>
              </a:rPr>
              <a:t>Hoofdstraffen</a:t>
            </a:r>
            <a:r>
              <a:rPr lang="en-US" sz="1400" u="sng" dirty="0">
                <a:sym typeface="Wingdings" panose="05000000000000000000" pitchFamily="2" charset="2"/>
              </a:rPr>
              <a:t> (art. 36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gevangenisstraf van zes maanden tot ten hoogste drie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prstClr val="black"/>
                </a:solidFill>
              </a:rPr>
              <a:t>de behandeling onder vrijheidsberoving van zes maanden tot ten hoogste twee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prstClr val="black"/>
                </a:solidFill>
              </a:rPr>
              <a:t>de straf onder elektronisch toezicht van een maand tot ten hoogste een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prstClr val="black"/>
                </a:solidFill>
              </a:rPr>
              <a:t>de werkstraf van meer dan honderdtwintig uur tot ten hoogste driehonderd uu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prstClr val="black"/>
                </a:solidFill>
              </a:rPr>
              <a:t>de probatiestraf van meer dan twaalf maanden tot ten hoogste twee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prstClr val="black"/>
                </a:solidFill>
              </a:rPr>
              <a:t>de veroordeling bij schuldigverklaring.</a:t>
            </a:r>
            <a:endParaRPr kumimoji="0" lang="nl-NL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400" b="0" u="sng" dirty="0"/>
              <a:t>Bijkomende straffen (art. 37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verlengde opvolg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geldboete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(verruimde)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>
                <a:solidFill>
                  <a:schemeClr val="accent3"/>
                </a:solidFill>
              </a:rPr>
              <a:t>het beroepsverbod en/of 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400" b="0" dirty="0"/>
              <a:t>de ontzetting uit bepaalde burgerlijke en politieke rechten, de bekendmaking van de beslissing houdende veroordeling, het verblijfs-, plaats- of contactverbod.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391031717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27DA2EA2-746A-68CD-254C-409A9712B7D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12556" cy="6849735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6AAA4182-2C43-4DB4-0427-60C1C5A4B517}"/>
              </a:ext>
            </a:extLst>
          </p:cNvPr>
          <p:cNvSpPr txBox="1">
            <a:spLocks/>
          </p:cNvSpPr>
          <p:nvPr/>
        </p:nvSpPr>
        <p:spPr bwMode="gray">
          <a:xfrm>
            <a:off x="1270535" y="177125"/>
            <a:ext cx="10674417" cy="598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+mn-lt"/>
              </a:rPr>
              <a:t>DE WET VAN 29 FEBRUARI 2024 TOT INVOERING VAN HET NIEUWE STRAFWETBOE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64DAEB1-BE35-7207-D626-14FDC6B47910}"/>
              </a:ext>
            </a:extLst>
          </p:cNvPr>
          <p:cNvSpPr txBox="1">
            <a:spLocks/>
          </p:cNvSpPr>
          <p:nvPr/>
        </p:nvSpPr>
        <p:spPr>
          <a:xfrm>
            <a:off x="1174281" y="476249"/>
            <a:ext cx="10241279" cy="3996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dirty="0">
                <a:solidFill>
                  <a:schemeClr val="bg2">
                    <a:lumMod val="50000"/>
                  </a:schemeClr>
                </a:solidFill>
              </a:rPr>
              <a:t>EEN NIEUW SYSTEEM VAN BESTRAFF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AAC1B-82D3-739B-F0C3-28001E8626A1}"/>
              </a:ext>
            </a:extLst>
          </p:cNvPr>
          <p:cNvCxnSpPr/>
          <p:nvPr/>
        </p:nvCxnSpPr>
        <p:spPr>
          <a:xfrm>
            <a:off x="587141" y="1174282"/>
            <a:ext cx="116048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8941E63-1584-8582-843F-AABE5A32D510}"/>
              </a:ext>
            </a:extLst>
          </p:cNvPr>
          <p:cNvSpPr txBox="1">
            <a:spLocks/>
          </p:cNvSpPr>
          <p:nvPr/>
        </p:nvSpPr>
        <p:spPr>
          <a:xfrm>
            <a:off x="1602557" y="1251624"/>
            <a:ext cx="10268602" cy="5417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ym typeface="Wingdings" panose="05000000000000000000" pitchFamily="2" charset="2"/>
              </a:rPr>
              <a:t>NIVEAU 2 – RECHTSPERSONEN</a:t>
            </a:r>
          </a:p>
          <a:p>
            <a:r>
              <a:rPr lang="en-US" sz="1600" u="sng" dirty="0" err="1">
                <a:sym typeface="Wingdings" panose="05000000000000000000" pitchFamily="2" charset="2"/>
              </a:rPr>
              <a:t>Hoofdstraffen</a:t>
            </a:r>
            <a:r>
              <a:rPr lang="en-US" sz="1600" u="sng" dirty="0">
                <a:sym typeface="Wingdings" panose="05000000000000000000" pitchFamily="2" charset="2"/>
              </a:rPr>
              <a:t> (art. 38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boete van 20.000 EUR tot ten hoogste 360.000 EU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</a:rPr>
              <a:t>de dienstverleningsstraf ten gunste van de gemeenschap, geraamd op een bedrag van 20.000 EUR tot ten hoogste 360.000 EU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</a:rPr>
              <a:t>de probatiestraf van meer dan twaalf maanden tot ten hoogste twee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</a:rPr>
              <a:t>de cumulatie van twee straffen van niveau 1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prstClr val="black"/>
                </a:solidFill>
              </a:rPr>
              <a:t>de veroordeling bij schuldigverklaring.</a:t>
            </a:r>
            <a:endParaRPr kumimoji="0" lang="nl-NL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lvl="1" indent="0" algn="just">
              <a:spcBef>
                <a:spcPts val="300"/>
              </a:spcBef>
              <a:buSzPct val="100000"/>
              <a:buNone/>
              <a:defRPr/>
            </a:pPr>
            <a:r>
              <a:rPr lang="nl-NL" sz="1600" b="0" u="sng" dirty="0"/>
              <a:t>Bijkomende straffen (art. 39 NSW)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(verruimde) verbeurdverklar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geldstraf vastgesteld op basis van het verwachte of uit het misdrijf behaalde voordeel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het verbod om een activiteit die deel uitmaakt van het voorwerp uit te oefenen voor een periode van een jaar tot ten hoogste tien jaar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>
                <a:solidFill>
                  <a:schemeClr val="accent3"/>
                </a:solidFill>
              </a:rPr>
              <a:t>de sluiting van de inrichting;</a:t>
            </a:r>
          </a:p>
          <a:p>
            <a:pPr marL="171450" lvl="1" indent="-171450" algn="just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nl-NL" sz="1600" b="0" dirty="0"/>
              <a:t>de bekendmaking van de beslissing houdende veroordeling. 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D36D7CC-26B1-6A91-1315-92DDE889ACAB}"/>
              </a:ext>
            </a:extLst>
          </p:cNvPr>
          <p:cNvSpPr txBox="1"/>
          <p:nvPr/>
        </p:nvSpPr>
        <p:spPr>
          <a:xfrm>
            <a:off x="501649" y="6530985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© 2024 Deloitte Legal </a:t>
            </a:r>
          </a:p>
        </p:txBody>
      </p:sp>
    </p:spTree>
    <p:extLst>
      <p:ext uri="{BB962C8B-B14F-4D97-AF65-F5344CB8AC3E}">
        <p14:creationId xmlns:p14="http://schemas.microsoft.com/office/powerpoint/2010/main" val="164996430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DESIGN_ID_DELOITTE BRAND THEME" val="FhrEA856"/>
  <p:tag name="ARTICULATE_PROJECT_OPEN" val="0"/>
  <p:tag name="ARTICULATE_SLIDE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ax_PPT_template_16x9_Basic.pptx" id="{FFD453C7-9189-4C93-B139-7B7BA6A5101B}" vid="{B53FE9F3-CBA7-480C-A4FE-A8F9747ED0F7}"/>
    </a:ext>
  </a:extLst>
</a:theme>
</file>

<file path=ppt/theme/theme2.xml><?xml version="1.0" encoding="utf-8"?>
<a:theme xmlns:a="http://schemas.openxmlformats.org/drawingml/2006/main" name="Theme-Deloitt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heme-Deloitte" id="{BAA1AA54-7A8B-4CA2-82EE-DF8505149C96}" vid="{7A5FEE59-6806-4C72-8493-244D48F4DF3B}"/>
    </a:ext>
  </a:extLst>
</a:theme>
</file>

<file path=ppt/theme/theme3.xml><?xml version="1.0" encoding="utf-8"?>
<a:theme xmlns:a="http://schemas.openxmlformats.org/drawingml/2006/main" name="Office Theme">
  <a:themeElements>
    <a:clrScheme name="Custom 5">
      <a:dk1>
        <a:sysClr val="windowText" lastClr="000000"/>
      </a:dk1>
      <a:lt1>
        <a:sysClr val="window" lastClr="FFFFFF"/>
      </a:lt1>
      <a:dk2>
        <a:srgbClr val="44546A"/>
      </a:dk2>
      <a:lt2>
        <a:srgbClr val="EE6F10"/>
      </a:lt2>
      <a:accent1>
        <a:srgbClr val="01BBC2"/>
      </a:accent1>
      <a:accent2>
        <a:srgbClr val="A2CD37"/>
      </a:accent2>
      <a:accent3>
        <a:srgbClr val="00B0F0"/>
      </a:accent3>
      <a:accent4>
        <a:srgbClr val="FD6D67"/>
      </a:accent4>
      <a:accent5>
        <a:srgbClr val="EAA31B"/>
      </a:accent5>
      <a:accent6>
        <a:srgbClr val="934584"/>
      </a:accent6>
      <a:hlink>
        <a:srgbClr val="BF2424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1029143958157787140","enableDocumentContentUpdater":false,"version":"2.0"}]]></TemplafySlide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50CCCC35F0BC4082AD06530119A485" ma:contentTypeVersion="5" ma:contentTypeDescription="Create a new document." ma:contentTypeScope="" ma:versionID="60d6e5ab59addf79c18c91a8974658c1">
  <xsd:schema xmlns:xsd="http://www.w3.org/2001/XMLSchema" xmlns:xs="http://www.w3.org/2001/XMLSchema" xmlns:p="http://schemas.microsoft.com/office/2006/metadata/properties" xmlns:ns2="c9f55073-0845-48b7-8346-91702ef251bb" xmlns:ns3="24b56e69-364a-4067-a211-fc9fc2a46d38" targetNamespace="http://schemas.microsoft.com/office/2006/metadata/properties" ma:root="true" ma:fieldsID="88aecaf23e3bf9dd480cc8a0667c5647" ns2:_="" ns3:_="">
    <xsd:import namespace="c9f55073-0845-48b7-8346-91702ef251bb"/>
    <xsd:import namespace="24b56e69-364a-4067-a211-fc9fc2a46d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f55073-0845-48b7-8346-91702ef251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b56e69-364a-4067-a211-fc9fc2a46d3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TemplafyFormConfiguration><![CDATA[{"formFields":[],"formDataEntries":[]}]]></Templafy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1029143958157787136","enableDocumentContentUpdater":false,"version":"2.0"}]]></TemplafySlideTemplate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4b56e69-364a-4067-a211-fc9fc2a46d38">
      <UserInfo>
        <DisplayName>Fonder, Fabienne</DisplayName>
        <AccountId>12</AccountId>
        <AccountType/>
      </UserInfo>
    </SharedWithUsers>
  </documentManagement>
</p:properties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TemplateConfiguration><![CDATA[{"elementsMetadata":[],"transformationConfigurations":[],"templateName":"Blanco presentatie","templateDescription":"","enableDocumentContentUpdater":false,"version":"2.0"}]]></TemplafyTemplateConfiguration>
</file>

<file path=customXml/itemProps1.xml><?xml version="1.0" encoding="utf-8"?>
<ds:datastoreItem xmlns:ds="http://schemas.openxmlformats.org/officeDocument/2006/customXml" ds:itemID="{5AC78C00-DCDC-486D-853C-0576790CB211}">
  <ds:schemaRefs/>
</ds:datastoreItem>
</file>

<file path=customXml/itemProps2.xml><?xml version="1.0" encoding="utf-8"?>
<ds:datastoreItem xmlns:ds="http://schemas.openxmlformats.org/officeDocument/2006/customXml" ds:itemID="{D64DA414-303E-4899-A90B-C32448B5FE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f55073-0845-48b7-8346-91702ef251bb"/>
    <ds:schemaRef ds:uri="24b56e69-364a-4067-a211-fc9fc2a46d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D164464-1232-41DC-AAE8-A78852F76912}">
  <ds:schemaRefs/>
</ds:datastoreItem>
</file>

<file path=customXml/itemProps4.xml><?xml version="1.0" encoding="utf-8"?>
<ds:datastoreItem xmlns:ds="http://schemas.openxmlformats.org/officeDocument/2006/customXml" ds:itemID="{F8D2DF7F-0D91-4483-A5DE-3401F0298DD0}">
  <ds:schemaRefs/>
</ds:datastoreItem>
</file>

<file path=customXml/itemProps5.xml><?xml version="1.0" encoding="utf-8"?>
<ds:datastoreItem xmlns:ds="http://schemas.openxmlformats.org/officeDocument/2006/customXml" ds:itemID="{C21AC8C7-312F-47F2-9FD5-C6AE83455BEF}">
  <ds:schemaRefs/>
</ds:datastoreItem>
</file>

<file path=customXml/itemProps6.xml><?xml version="1.0" encoding="utf-8"?>
<ds:datastoreItem xmlns:ds="http://schemas.openxmlformats.org/officeDocument/2006/customXml" ds:itemID="{141B0BFA-154F-4FE6-8C46-2B0CF6A6ECED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2EEE0193-3346-4FA1-A6C3-2BE7C7DE3BC4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c9f55073-0845-48b7-8346-91702ef251bb"/>
    <ds:schemaRef ds:uri="http://www.w3.org/XML/1998/namespace"/>
    <ds:schemaRef ds:uri="http://purl.org/dc/terms/"/>
    <ds:schemaRef ds:uri="http://schemas.microsoft.com/office/infopath/2007/PartnerControls"/>
    <ds:schemaRef ds:uri="24b56e69-364a-4067-a211-fc9fc2a46d38"/>
    <ds:schemaRef ds:uri="http://purl.org/dc/dcmitype/"/>
  </ds:schemaRefs>
</ds:datastoreItem>
</file>

<file path=customXml/itemProps8.xml><?xml version="1.0" encoding="utf-8"?>
<ds:datastoreItem xmlns:ds="http://schemas.openxmlformats.org/officeDocument/2006/customXml" ds:itemID="{2081FF49-019C-4CDC-8D74-7FCB359A3472}">
  <ds:schemaRefs/>
</ds:datastoreItem>
</file>

<file path=customXml/itemProps9.xml><?xml version="1.0" encoding="utf-8"?>
<ds:datastoreItem xmlns:ds="http://schemas.openxmlformats.org/officeDocument/2006/customXml" ds:itemID="{A7C31F7B-567C-4BF8-BA48-BF010FFD62D3}">
  <ds:schemaRefs/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27</Words>
  <Application>Microsoft Office PowerPoint</Application>
  <PresentationFormat>Breedbeeld</PresentationFormat>
  <Paragraphs>357</Paragraphs>
  <Slides>28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8</vt:i4>
      </vt:variant>
    </vt:vector>
  </HeadingPairs>
  <TitlesOfParts>
    <vt:vector size="42" baseType="lpstr">
      <vt:lpstr>Arial</vt:lpstr>
      <vt:lpstr>Calibri</vt:lpstr>
      <vt:lpstr>Calibri body</vt:lpstr>
      <vt:lpstr>Calibri Light</vt:lpstr>
      <vt:lpstr>Georgia Pro Cond</vt:lpstr>
      <vt:lpstr>Open Sans</vt:lpstr>
      <vt:lpstr>Open Sans Light</vt:lpstr>
      <vt:lpstr>Verdana</vt:lpstr>
      <vt:lpstr>Wingdings</vt:lpstr>
      <vt:lpstr>Deloitte Brand Theme</vt:lpstr>
      <vt:lpstr>Theme-Deloitte</vt:lpstr>
      <vt:lpstr>Office Theme</vt:lpstr>
      <vt:lpstr>1_Deloitte Brand Theme</vt:lpstr>
      <vt:lpstr>think-cell Slide</vt:lpstr>
      <vt:lpstr>Impact van het nieuwe strafwetboek op de fiscaal strafrechtelijke aansprakelijkheid van cijferberoepen</vt:lpstr>
      <vt:lpstr>PowerPoint-presentatie</vt:lpstr>
      <vt:lpstr>1. Inleiding</vt:lpstr>
      <vt:lpstr>2. De fiscale misdrijven en hun bestraffing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CIJFERVOORBEELD FISCALE FRAU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3. De relevantie van de wijzigingen voor de cijferberoepen 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Tax PPT Template 16x9 Basic</dc:title>
  <dc:creator/>
  <cp:lastModifiedBy/>
  <cp:revision>1</cp:revision>
  <dcterms:created xsi:type="dcterms:W3CDTF">2024-10-29T13:54:14Z</dcterms:created>
  <dcterms:modified xsi:type="dcterms:W3CDTF">2025-05-19T12:2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4-30T22:39:5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b8dcbfc-9da1-4960-b70d-4d360a6d5a6c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550CCCC35F0BC4082AD06530119A485</vt:lpwstr>
  </property>
  <property fmtid="{D5CDD505-2E9C-101B-9397-08002B2CF9AE}" pid="10" name="ArticulateGUID">
    <vt:lpwstr>1CA7BAAD-B5CF-4389-A477-29C516FED596</vt:lpwstr>
  </property>
  <property fmtid="{D5CDD505-2E9C-101B-9397-08002B2CF9AE}" pid="11" name="ArticulatePath">
    <vt:lpwstr>https://resources.deloitte.com/sites/PowerPointTemplatesTL/Shared Documents/General/2023 Templates/Tax_16x9_Basic</vt:lpwstr>
  </property>
  <property fmtid="{D5CDD505-2E9C-101B-9397-08002B2CF9AE}" pid="12" name="TemplafyTimeStamp">
    <vt:lpwstr>2024-10-25T08:13:52</vt:lpwstr>
  </property>
  <property fmtid="{D5CDD505-2E9C-101B-9397-08002B2CF9AE}" pid="13" name="TemplafyTenantId">
    <vt:lpwstr>deloittebelgium</vt:lpwstr>
  </property>
  <property fmtid="{D5CDD505-2E9C-101B-9397-08002B2CF9AE}" pid="14" name="TemplafyTemplateId">
    <vt:lpwstr>1034097815934468100</vt:lpwstr>
  </property>
  <property fmtid="{D5CDD505-2E9C-101B-9397-08002B2CF9AE}" pid="15" name="TemplafyUserProfileId">
    <vt:lpwstr>892363766912778259</vt:lpwstr>
  </property>
  <property fmtid="{D5CDD505-2E9C-101B-9397-08002B2CF9AE}" pid="16" name="TemplafyFromBlank">
    <vt:bool>true</vt:bool>
  </property>
</Properties>
</file>